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2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D075D0-A899-F5B0-81ED-47C5BCF6CA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18A9C2A-6A82-8BFE-4188-F3F87242B6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8A9C2A-6A82-8BFE-4188-F3F87242B6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2FDE63-AC91-BAFE-47D1-87ABBAA47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FCBDCE3-328B-BEA2-2037-06F48E7AF9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cons </a:t>
            </a:r>
          </a:p>
        </p:txBody>
      </p:sp>
      <p:grpSp>
        <p:nvGrpSpPr>
          <p:cNvPr id="11" name="Shape38_20200717_142846">
            <a:extLst>
              <a:ext uri="{FF2B5EF4-FFF2-40B4-BE49-F238E27FC236}">
                <a16:creationId xmlns:a16="http://schemas.microsoft.com/office/drawing/2014/main" id="{FC7904F8-4374-CD38-A025-8549C9BBB5A1}"/>
              </a:ext>
            </a:extLst>
          </p:cNvPr>
          <p:cNvGrpSpPr>
            <a:grpSpLocks noChangeAspect="1"/>
          </p:cNvGrpSpPr>
          <p:nvPr/>
        </p:nvGrpSpPr>
        <p:grpSpPr>
          <a:xfrm>
            <a:off x="2003027" y="1259674"/>
            <a:ext cx="352620" cy="527745"/>
            <a:chOff x="-3470207" y="989979"/>
            <a:chExt cx="233351" cy="349250"/>
          </a:xfrm>
          <a:solidFill>
            <a:schemeClr val="accent1"/>
          </a:solidFill>
        </p:grpSpPr>
        <p:sp>
          <p:nvSpPr>
            <p:cNvPr id="12" name="Freeform 1375">
              <a:extLst>
                <a:ext uri="{FF2B5EF4-FFF2-40B4-BE49-F238E27FC236}">
                  <a16:creationId xmlns:a16="http://schemas.microsoft.com/office/drawing/2014/main" id="{360D8AA8-A1AC-91DE-61BE-E13D5F787C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59092" y="1066179"/>
              <a:ext cx="122236" cy="273050"/>
            </a:xfrm>
            <a:custGeom>
              <a:avLst/>
              <a:gdLst>
                <a:gd name="T0" fmla="*/ 63 w 118"/>
                <a:gd name="T1" fmla="*/ 263 h 263"/>
                <a:gd name="T2" fmla="*/ 44 w 118"/>
                <a:gd name="T3" fmla="*/ 253 h 263"/>
                <a:gd name="T4" fmla="*/ 24 w 118"/>
                <a:gd name="T5" fmla="*/ 263 h 263"/>
                <a:gd name="T6" fmla="*/ 0 w 118"/>
                <a:gd name="T7" fmla="*/ 238 h 263"/>
                <a:gd name="T8" fmla="*/ 0 w 118"/>
                <a:gd name="T9" fmla="*/ 115 h 263"/>
                <a:gd name="T10" fmla="*/ 5 w 118"/>
                <a:gd name="T11" fmla="*/ 110 h 263"/>
                <a:gd name="T12" fmla="*/ 11 w 118"/>
                <a:gd name="T13" fmla="*/ 115 h 263"/>
                <a:gd name="T14" fmla="*/ 20 w 118"/>
                <a:gd name="T15" fmla="*/ 126 h 263"/>
                <a:gd name="T16" fmla="*/ 27 w 118"/>
                <a:gd name="T17" fmla="*/ 123 h 263"/>
                <a:gd name="T18" fmla="*/ 30 w 118"/>
                <a:gd name="T19" fmla="*/ 116 h 263"/>
                <a:gd name="T20" fmla="*/ 30 w 118"/>
                <a:gd name="T21" fmla="*/ 36 h 263"/>
                <a:gd name="T22" fmla="*/ 8 w 118"/>
                <a:gd name="T23" fmla="*/ 11 h 263"/>
                <a:gd name="T24" fmla="*/ 3 w 118"/>
                <a:gd name="T25" fmla="*/ 5 h 263"/>
                <a:gd name="T26" fmla="*/ 8 w 118"/>
                <a:gd name="T27" fmla="*/ 0 h 263"/>
                <a:gd name="T28" fmla="*/ 82 w 118"/>
                <a:gd name="T29" fmla="*/ 0 h 263"/>
                <a:gd name="T30" fmla="*/ 118 w 118"/>
                <a:gd name="T31" fmla="*/ 36 h 263"/>
                <a:gd name="T32" fmla="*/ 118 w 118"/>
                <a:gd name="T33" fmla="*/ 116 h 263"/>
                <a:gd name="T34" fmla="*/ 111 w 118"/>
                <a:gd name="T35" fmla="*/ 131 h 263"/>
                <a:gd name="T36" fmla="*/ 95 w 118"/>
                <a:gd name="T37" fmla="*/ 137 h 263"/>
                <a:gd name="T38" fmla="*/ 87 w 118"/>
                <a:gd name="T39" fmla="*/ 134 h 263"/>
                <a:gd name="T40" fmla="*/ 87 w 118"/>
                <a:gd name="T41" fmla="*/ 238 h 263"/>
                <a:gd name="T42" fmla="*/ 63 w 118"/>
                <a:gd name="T43" fmla="*/ 263 h 263"/>
                <a:gd name="T44" fmla="*/ 49 w 118"/>
                <a:gd name="T45" fmla="*/ 238 h 263"/>
                <a:gd name="T46" fmla="*/ 63 w 118"/>
                <a:gd name="T47" fmla="*/ 252 h 263"/>
                <a:gd name="T48" fmla="*/ 76 w 118"/>
                <a:gd name="T49" fmla="*/ 238 h 263"/>
                <a:gd name="T50" fmla="*/ 76 w 118"/>
                <a:gd name="T51" fmla="*/ 116 h 263"/>
                <a:gd name="T52" fmla="*/ 76 w 118"/>
                <a:gd name="T53" fmla="*/ 115 h 263"/>
                <a:gd name="T54" fmla="*/ 76 w 118"/>
                <a:gd name="T55" fmla="*/ 60 h 263"/>
                <a:gd name="T56" fmla="*/ 82 w 118"/>
                <a:gd name="T57" fmla="*/ 55 h 263"/>
                <a:gd name="T58" fmla="*/ 87 w 118"/>
                <a:gd name="T59" fmla="*/ 60 h 263"/>
                <a:gd name="T60" fmla="*/ 87 w 118"/>
                <a:gd name="T61" fmla="*/ 115 h 263"/>
                <a:gd name="T62" fmla="*/ 87 w 118"/>
                <a:gd name="T63" fmla="*/ 115 h 263"/>
                <a:gd name="T64" fmla="*/ 96 w 118"/>
                <a:gd name="T65" fmla="*/ 126 h 263"/>
                <a:gd name="T66" fmla="*/ 104 w 118"/>
                <a:gd name="T67" fmla="*/ 123 h 263"/>
                <a:gd name="T68" fmla="*/ 107 w 118"/>
                <a:gd name="T69" fmla="*/ 116 h 263"/>
                <a:gd name="T70" fmla="*/ 107 w 118"/>
                <a:gd name="T71" fmla="*/ 36 h 263"/>
                <a:gd name="T72" fmla="*/ 82 w 118"/>
                <a:gd name="T73" fmla="*/ 11 h 263"/>
                <a:gd name="T74" fmla="*/ 31 w 118"/>
                <a:gd name="T75" fmla="*/ 11 h 263"/>
                <a:gd name="T76" fmla="*/ 41 w 118"/>
                <a:gd name="T77" fmla="*/ 36 h 263"/>
                <a:gd name="T78" fmla="*/ 41 w 118"/>
                <a:gd name="T79" fmla="*/ 116 h 263"/>
                <a:gd name="T80" fmla="*/ 34 w 118"/>
                <a:gd name="T81" fmla="*/ 131 h 263"/>
                <a:gd name="T82" fmla="*/ 19 w 118"/>
                <a:gd name="T83" fmla="*/ 136 h 263"/>
                <a:gd name="T84" fmla="*/ 11 w 118"/>
                <a:gd name="T85" fmla="*/ 134 h 263"/>
                <a:gd name="T86" fmla="*/ 11 w 118"/>
                <a:gd name="T87" fmla="*/ 238 h 263"/>
                <a:gd name="T88" fmla="*/ 24 w 118"/>
                <a:gd name="T89" fmla="*/ 252 h 263"/>
                <a:gd name="T90" fmla="*/ 38 w 118"/>
                <a:gd name="T91" fmla="*/ 238 h 263"/>
                <a:gd name="T92" fmla="*/ 38 w 118"/>
                <a:gd name="T93" fmla="*/ 145 h 263"/>
                <a:gd name="T94" fmla="*/ 44 w 118"/>
                <a:gd name="T95" fmla="*/ 140 h 263"/>
                <a:gd name="T96" fmla="*/ 49 w 118"/>
                <a:gd name="T97" fmla="*/ 145 h 263"/>
                <a:gd name="T98" fmla="*/ 49 w 118"/>
                <a:gd name="T99" fmla="*/ 23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8" h="263">
                  <a:moveTo>
                    <a:pt x="63" y="263"/>
                  </a:moveTo>
                  <a:cubicBezTo>
                    <a:pt x="55" y="263"/>
                    <a:pt x="48" y="259"/>
                    <a:pt x="44" y="253"/>
                  </a:cubicBezTo>
                  <a:cubicBezTo>
                    <a:pt x="39" y="259"/>
                    <a:pt x="32" y="263"/>
                    <a:pt x="24" y="263"/>
                  </a:cubicBezTo>
                  <a:cubicBezTo>
                    <a:pt x="11" y="263"/>
                    <a:pt x="0" y="252"/>
                    <a:pt x="0" y="238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12"/>
                    <a:pt x="2" y="110"/>
                    <a:pt x="5" y="110"/>
                  </a:cubicBezTo>
                  <a:cubicBezTo>
                    <a:pt x="8" y="110"/>
                    <a:pt x="11" y="112"/>
                    <a:pt x="11" y="115"/>
                  </a:cubicBezTo>
                  <a:cubicBezTo>
                    <a:pt x="11" y="121"/>
                    <a:pt x="15" y="125"/>
                    <a:pt x="20" y="126"/>
                  </a:cubicBezTo>
                  <a:cubicBezTo>
                    <a:pt x="22" y="126"/>
                    <a:pt x="25" y="125"/>
                    <a:pt x="27" y="123"/>
                  </a:cubicBezTo>
                  <a:cubicBezTo>
                    <a:pt x="29" y="121"/>
                    <a:pt x="30" y="119"/>
                    <a:pt x="30" y="116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23"/>
                    <a:pt x="21" y="12"/>
                    <a:pt x="8" y="11"/>
                  </a:cubicBezTo>
                  <a:cubicBezTo>
                    <a:pt x="5" y="10"/>
                    <a:pt x="3" y="8"/>
                    <a:pt x="3" y="5"/>
                  </a:cubicBezTo>
                  <a:cubicBezTo>
                    <a:pt x="3" y="2"/>
                    <a:pt x="5" y="0"/>
                    <a:pt x="8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102" y="0"/>
                    <a:pt x="118" y="16"/>
                    <a:pt x="118" y="36"/>
                  </a:cubicBezTo>
                  <a:cubicBezTo>
                    <a:pt x="118" y="116"/>
                    <a:pt x="118" y="116"/>
                    <a:pt x="118" y="116"/>
                  </a:cubicBezTo>
                  <a:cubicBezTo>
                    <a:pt x="118" y="122"/>
                    <a:pt x="115" y="127"/>
                    <a:pt x="111" y="131"/>
                  </a:cubicBezTo>
                  <a:cubicBezTo>
                    <a:pt x="107" y="135"/>
                    <a:pt x="101" y="137"/>
                    <a:pt x="95" y="137"/>
                  </a:cubicBezTo>
                  <a:cubicBezTo>
                    <a:pt x="92" y="136"/>
                    <a:pt x="90" y="135"/>
                    <a:pt x="87" y="134"/>
                  </a:cubicBezTo>
                  <a:cubicBezTo>
                    <a:pt x="87" y="238"/>
                    <a:pt x="87" y="238"/>
                    <a:pt x="87" y="238"/>
                  </a:cubicBezTo>
                  <a:cubicBezTo>
                    <a:pt x="87" y="252"/>
                    <a:pt x="76" y="263"/>
                    <a:pt x="63" y="263"/>
                  </a:cubicBezTo>
                  <a:close/>
                  <a:moveTo>
                    <a:pt x="49" y="238"/>
                  </a:moveTo>
                  <a:cubicBezTo>
                    <a:pt x="49" y="246"/>
                    <a:pt x="55" y="252"/>
                    <a:pt x="63" y="252"/>
                  </a:cubicBezTo>
                  <a:cubicBezTo>
                    <a:pt x="70" y="252"/>
                    <a:pt x="76" y="246"/>
                    <a:pt x="76" y="238"/>
                  </a:cubicBezTo>
                  <a:cubicBezTo>
                    <a:pt x="76" y="116"/>
                    <a:pt x="76" y="116"/>
                    <a:pt x="76" y="116"/>
                  </a:cubicBezTo>
                  <a:cubicBezTo>
                    <a:pt x="76" y="116"/>
                    <a:pt x="76" y="115"/>
                    <a:pt x="76" y="115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57"/>
                    <a:pt x="79" y="55"/>
                    <a:pt x="82" y="55"/>
                  </a:cubicBezTo>
                  <a:cubicBezTo>
                    <a:pt x="85" y="55"/>
                    <a:pt x="87" y="57"/>
                    <a:pt x="87" y="60"/>
                  </a:cubicBezTo>
                  <a:cubicBezTo>
                    <a:pt x="87" y="115"/>
                    <a:pt x="87" y="115"/>
                    <a:pt x="87" y="115"/>
                  </a:cubicBezTo>
                  <a:cubicBezTo>
                    <a:pt x="87" y="115"/>
                    <a:pt x="87" y="115"/>
                    <a:pt x="87" y="115"/>
                  </a:cubicBezTo>
                  <a:cubicBezTo>
                    <a:pt x="87" y="121"/>
                    <a:pt x="91" y="125"/>
                    <a:pt x="96" y="126"/>
                  </a:cubicBezTo>
                  <a:cubicBezTo>
                    <a:pt x="99" y="126"/>
                    <a:pt x="102" y="125"/>
                    <a:pt x="104" y="123"/>
                  </a:cubicBezTo>
                  <a:cubicBezTo>
                    <a:pt x="106" y="121"/>
                    <a:pt x="107" y="119"/>
                    <a:pt x="107" y="11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22"/>
                    <a:pt x="96" y="11"/>
                    <a:pt x="82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8" y="17"/>
                    <a:pt x="41" y="26"/>
                    <a:pt x="41" y="36"/>
                  </a:cubicBezTo>
                  <a:cubicBezTo>
                    <a:pt x="41" y="116"/>
                    <a:pt x="41" y="116"/>
                    <a:pt x="41" y="116"/>
                  </a:cubicBezTo>
                  <a:cubicBezTo>
                    <a:pt x="41" y="122"/>
                    <a:pt x="39" y="127"/>
                    <a:pt x="34" y="131"/>
                  </a:cubicBezTo>
                  <a:cubicBezTo>
                    <a:pt x="30" y="135"/>
                    <a:pt x="24" y="137"/>
                    <a:pt x="19" y="136"/>
                  </a:cubicBezTo>
                  <a:cubicBezTo>
                    <a:pt x="16" y="136"/>
                    <a:pt x="13" y="135"/>
                    <a:pt x="11" y="134"/>
                  </a:cubicBezTo>
                  <a:cubicBezTo>
                    <a:pt x="11" y="238"/>
                    <a:pt x="11" y="238"/>
                    <a:pt x="11" y="238"/>
                  </a:cubicBezTo>
                  <a:cubicBezTo>
                    <a:pt x="11" y="246"/>
                    <a:pt x="17" y="252"/>
                    <a:pt x="24" y="252"/>
                  </a:cubicBezTo>
                  <a:cubicBezTo>
                    <a:pt x="32" y="252"/>
                    <a:pt x="38" y="246"/>
                    <a:pt x="38" y="238"/>
                  </a:cubicBezTo>
                  <a:cubicBezTo>
                    <a:pt x="38" y="145"/>
                    <a:pt x="38" y="145"/>
                    <a:pt x="38" y="145"/>
                  </a:cubicBezTo>
                  <a:cubicBezTo>
                    <a:pt x="38" y="142"/>
                    <a:pt x="41" y="140"/>
                    <a:pt x="44" y="140"/>
                  </a:cubicBezTo>
                  <a:cubicBezTo>
                    <a:pt x="47" y="140"/>
                    <a:pt x="49" y="142"/>
                    <a:pt x="49" y="145"/>
                  </a:cubicBezTo>
                  <a:lnTo>
                    <a:pt x="49" y="2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1376">
              <a:extLst>
                <a:ext uri="{FF2B5EF4-FFF2-40B4-BE49-F238E27FC236}">
                  <a16:creationId xmlns:a16="http://schemas.microsoft.com/office/drawing/2014/main" id="{A20E5787-B2DB-70A6-52C9-316DC9EF6D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46391" y="989979"/>
              <a:ext cx="65087" cy="65088"/>
            </a:xfrm>
            <a:custGeom>
              <a:avLst/>
              <a:gdLst>
                <a:gd name="T0" fmla="*/ 32 w 63"/>
                <a:gd name="T1" fmla="*/ 62 h 62"/>
                <a:gd name="T2" fmla="*/ 0 w 63"/>
                <a:gd name="T3" fmla="*/ 31 h 62"/>
                <a:gd name="T4" fmla="*/ 32 w 63"/>
                <a:gd name="T5" fmla="*/ 0 h 62"/>
                <a:gd name="T6" fmla="*/ 63 w 63"/>
                <a:gd name="T7" fmla="*/ 31 h 62"/>
                <a:gd name="T8" fmla="*/ 32 w 63"/>
                <a:gd name="T9" fmla="*/ 62 h 62"/>
                <a:gd name="T10" fmla="*/ 32 w 63"/>
                <a:gd name="T11" fmla="*/ 11 h 62"/>
                <a:gd name="T12" fmla="*/ 11 w 63"/>
                <a:gd name="T13" fmla="*/ 31 h 62"/>
                <a:gd name="T14" fmla="*/ 32 w 63"/>
                <a:gd name="T15" fmla="*/ 51 h 62"/>
                <a:gd name="T16" fmla="*/ 52 w 63"/>
                <a:gd name="T17" fmla="*/ 31 h 62"/>
                <a:gd name="T18" fmla="*/ 32 w 63"/>
                <a:gd name="T19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2">
                  <a:moveTo>
                    <a:pt x="32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3" y="14"/>
                    <a:pt x="63" y="31"/>
                  </a:cubicBezTo>
                  <a:cubicBezTo>
                    <a:pt x="63" y="48"/>
                    <a:pt x="49" y="62"/>
                    <a:pt x="32" y="62"/>
                  </a:cubicBezTo>
                  <a:close/>
                  <a:moveTo>
                    <a:pt x="32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42"/>
                    <a:pt x="20" y="51"/>
                    <a:pt x="32" y="51"/>
                  </a:cubicBezTo>
                  <a:cubicBezTo>
                    <a:pt x="43" y="51"/>
                    <a:pt x="52" y="42"/>
                    <a:pt x="52" y="31"/>
                  </a:cubicBezTo>
                  <a:cubicBezTo>
                    <a:pt x="52" y="20"/>
                    <a:pt x="43" y="11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1377">
              <a:extLst>
                <a:ext uri="{FF2B5EF4-FFF2-40B4-BE49-F238E27FC236}">
                  <a16:creationId xmlns:a16="http://schemas.microsoft.com/office/drawing/2014/main" id="{D6776A9C-A1A9-0A03-829A-C8B1F2B0F2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25764" y="989979"/>
              <a:ext cx="63499" cy="65088"/>
            </a:xfrm>
            <a:custGeom>
              <a:avLst/>
              <a:gdLst>
                <a:gd name="T0" fmla="*/ 31 w 62"/>
                <a:gd name="T1" fmla="*/ 62 h 62"/>
                <a:gd name="T2" fmla="*/ 0 w 62"/>
                <a:gd name="T3" fmla="*/ 31 h 62"/>
                <a:gd name="T4" fmla="*/ 31 w 62"/>
                <a:gd name="T5" fmla="*/ 0 h 62"/>
                <a:gd name="T6" fmla="*/ 62 w 62"/>
                <a:gd name="T7" fmla="*/ 31 h 62"/>
                <a:gd name="T8" fmla="*/ 31 w 62"/>
                <a:gd name="T9" fmla="*/ 62 h 62"/>
                <a:gd name="T10" fmla="*/ 31 w 62"/>
                <a:gd name="T11" fmla="*/ 10 h 62"/>
                <a:gd name="T12" fmla="*/ 11 w 62"/>
                <a:gd name="T13" fmla="*/ 31 h 62"/>
                <a:gd name="T14" fmla="*/ 31 w 62"/>
                <a:gd name="T15" fmla="*/ 51 h 62"/>
                <a:gd name="T16" fmla="*/ 51 w 62"/>
                <a:gd name="T17" fmla="*/ 31 h 62"/>
                <a:gd name="T18" fmla="*/ 31 w 62"/>
                <a:gd name="T19" fmla="*/ 1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2">
                  <a:moveTo>
                    <a:pt x="31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3"/>
                    <a:pt x="14" y="0"/>
                    <a:pt x="31" y="0"/>
                  </a:cubicBezTo>
                  <a:cubicBezTo>
                    <a:pt x="48" y="0"/>
                    <a:pt x="62" y="13"/>
                    <a:pt x="62" y="31"/>
                  </a:cubicBezTo>
                  <a:cubicBezTo>
                    <a:pt x="62" y="48"/>
                    <a:pt x="48" y="62"/>
                    <a:pt x="31" y="62"/>
                  </a:cubicBezTo>
                  <a:close/>
                  <a:moveTo>
                    <a:pt x="31" y="10"/>
                  </a:moveTo>
                  <a:cubicBezTo>
                    <a:pt x="20" y="10"/>
                    <a:pt x="11" y="20"/>
                    <a:pt x="11" y="31"/>
                  </a:cubicBezTo>
                  <a:cubicBezTo>
                    <a:pt x="11" y="42"/>
                    <a:pt x="20" y="51"/>
                    <a:pt x="31" y="51"/>
                  </a:cubicBezTo>
                  <a:cubicBezTo>
                    <a:pt x="42" y="51"/>
                    <a:pt x="51" y="42"/>
                    <a:pt x="51" y="31"/>
                  </a:cubicBezTo>
                  <a:cubicBezTo>
                    <a:pt x="51" y="20"/>
                    <a:pt x="42" y="10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" name="Freeform 1378">
              <a:extLst>
                <a:ext uri="{FF2B5EF4-FFF2-40B4-BE49-F238E27FC236}">
                  <a16:creationId xmlns:a16="http://schemas.microsoft.com/office/drawing/2014/main" id="{71EFAFA8-1765-04EC-B8E6-40A15135AE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70207" y="1066180"/>
              <a:ext cx="153985" cy="271463"/>
            </a:xfrm>
            <a:custGeom>
              <a:avLst/>
              <a:gdLst>
                <a:gd name="T0" fmla="*/ 93 w 148"/>
                <a:gd name="T1" fmla="*/ 262 h 262"/>
                <a:gd name="T2" fmla="*/ 74 w 148"/>
                <a:gd name="T3" fmla="*/ 253 h 262"/>
                <a:gd name="T4" fmla="*/ 55 w 148"/>
                <a:gd name="T5" fmla="*/ 262 h 262"/>
                <a:gd name="T6" fmla="*/ 30 w 148"/>
                <a:gd name="T7" fmla="*/ 238 h 262"/>
                <a:gd name="T8" fmla="*/ 30 w 148"/>
                <a:gd name="T9" fmla="*/ 134 h 262"/>
                <a:gd name="T10" fmla="*/ 23 w 148"/>
                <a:gd name="T11" fmla="*/ 136 h 262"/>
                <a:gd name="T12" fmla="*/ 7 w 148"/>
                <a:gd name="T13" fmla="*/ 131 h 262"/>
                <a:gd name="T14" fmla="*/ 0 w 148"/>
                <a:gd name="T15" fmla="*/ 116 h 262"/>
                <a:gd name="T16" fmla="*/ 0 w 148"/>
                <a:gd name="T17" fmla="*/ 36 h 262"/>
                <a:gd name="T18" fmla="*/ 36 w 148"/>
                <a:gd name="T19" fmla="*/ 0 h 262"/>
                <a:gd name="T20" fmla="*/ 112 w 148"/>
                <a:gd name="T21" fmla="*/ 0 h 262"/>
                <a:gd name="T22" fmla="*/ 116 w 148"/>
                <a:gd name="T23" fmla="*/ 0 h 262"/>
                <a:gd name="T24" fmla="*/ 116 w 148"/>
                <a:gd name="T25" fmla="*/ 0 h 262"/>
                <a:gd name="T26" fmla="*/ 148 w 148"/>
                <a:gd name="T27" fmla="*/ 36 h 262"/>
                <a:gd name="T28" fmla="*/ 148 w 148"/>
                <a:gd name="T29" fmla="*/ 116 h 262"/>
                <a:gd name="T30" fmla="*/ 141 w 148"/>
                <a:gd name="T31" fmla="*/ 131 h 262"/>
                <a:gd name="T32" fmla="*/ 126 w 148"/>
                <a:gd name="T33" fmla="*/ 136 h 262"/>
                <a:gd name="T34" fmla="*/ 118 w 148"/>
                <a:gd name="T35" fmla="*/ 134 h 262"/>
                <a:gd name="T36" fmla="*/ 118 w 148"/>
                <a:gd name="T37" fmla="*/ 238 h 262"/>
                <a:gd name="T38" fmla="*/ 93 w 148"/>
                <a:gd name="T39" fmla="*/ 262 h 262"/>
                <a:gd name="T40" fmla="*/ 74 w 148"/>
                <a:gd name="T41" fmla="*/ 232 h 262"/>
                <a:gd name="T42" fmla="*/ 80 w 148"/>
                <a:gd name="T43" fmla="*/ 238 h 262"/>
                <a:gd name="T44" fmla="*/ 93 w 148"/>
                <a:gd name="T45" fmla="*/ 251 h 262"/>
                <a:gd name="T46" fmla="*/ 107 w 148"/>
                <a:gd name="T47" fmla="*/ 238 h 262"/>
                <a:gd name="T48" fmla="*/ 107 w 148"/>
                <a:gd name="T49" fmla="*/ 116 h 262"/>
                <a:gd name="T50" fmla="*/ 107 w 148"/>
                <a:gd name="T51" fmla="*/ 115 h 262"/>
                <a:gd name="T52" fmla="*/ 107 w 148"/>
                <a:gd name="T53" fmla="*/ 115 h 262"/>
                <a:gd name="T54" fmla="*/ 112 w 148"/>
                <a:gd name="T55" fmla="*/ 110 h 262"/>
                <a:gd name="T56" fmla="*/ 118 w 148"/>
                <a:gd name="T57" fmla="*/ 114 h 262"/>
                <a:gd name="T58" fmla="*/ 118 w 148"/>
                <a:gd name="T59" fmla="*/ 115 h 262"/>
                <a:gd name="T60" fmla="*/ 127 w 148"/>
                <a:gd name="T61" fmla="*/ 126 h 262"/>
                <a:gd name="T62" fmla="*/ 134 w 148"/>
                <a:gd name="T63" fmla="*/ 123 h 262"/>
                <a:gd name="T64" fmla="*/ 137 w 148"/>
                <a:gd name="T65" fmla="*/ 116 h 262"/>
                <a:gd name="T66" fmla="*/ 137 w 148"/>
                <a:gd name="T67" fmla="*/ 36 h 262"/>
                <a:gd name="T68" fmla="*/ 115 w 148"/>
                <a:gd name="T69" fmla="*/ 11 h 262"/>
                <a:gd name="T70" fmla="*/ 112 w 148"/>
                <a:gd name="T71" fmla="*/ 11 h 262"/>
                <a:gd name="T72" fmla="*/ 36 w 148"/>
                <a:gd name="T73" fmla="*/ 11 h 262"/>
                <a:gd name="T74" fmla="*/ 11 w 148"/>
                <a:gd name="T75" fmla="*/ 36 h 262"/>
                <a:gd name="T76" fmla="*/ 11 w 148"/>
                <a:gd name="T77" fmla="*/ 116 h 262"/>
                <a:gd name="T78" fmla="*/ 14 w 148"/>
                <a:gd name="T79" fmla="*/ 123 h 262"/>
                <a:gd name="T80" fmla="*/ 22 w 148"/>
                <a:gd name="T81" fmla="*/ 126 h 262"/>
                <a:gd name="T82" fmla="*/ 30 w 148"/>
                <a:gd name="T83" fmla="*/ 115 h 262"/>
                <a:gd name="T84" fmla="*/ 36 w 148"/>
                <a:gd name="T85" fmla="*/ 110 h 262"/>
                <a:gd name="T86" fmla="*/ 41 w 148"/>
                <a:gd name="T87" fmla="*/ 115 h 262"/>
                <a:gd name="T88" fmla="*/ 41 w 148"/>
                <a:gd name="T89" fmla="*/ 238 h 262"/>
                <a:gd name="T90" fmla="*/ 55 w 148"/>
                <a:gd name="T91" fmla="*/ 251 h 262"/>
                <a:gd name="T92" fmla="*/ 69 w 148"/>
                <a:gd name="T93" fmla="*/ 238 h 262"/>
                <a:gd name="T94" fmla="*/ 74 w 148"/>
                <a:gd name="T95" fmla="*/ 23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8" h="262">
                  <a:moveTo>
                    <a:pt x="93" y="262"/>
                  </a:moveTo>
                  <a:cubicBezTo>
                    <a:pt x="85" y="262"/>
                    <a:pt x="79" y="259"/>
                    <a:pt x="74" y="253"/>
                  </a:cubicBezTo>
                  <a:cubicBezTo>
                    <a:pt x="70" y="259"/>
                    <a:pt x="63" y="262"/>
                    <a:pt x="55" y="262"/>
                  </a:cubicBezTo>
                  <a:cubicBezTo>
                    <a:pt x="41" y="262"/>
                    <a:pt x="30" y="251"/>
                    <a:pt x="30" y="238"/>
                  </a:cubicBezTo>
                  <a:cubicBezTo>
                    <a:pt x="30" y="134"/>
                    <a:pt x="30" y="134"/>
                    <a:pt x="30" y="134"/>
                  </a:cubicBezTo>
                  <a:cubicBezTo>
                    <a:pt x="28" y="135"/>
                    <a:pt x="25" y="136"/>
                    <a:pt x="23" y="136"/>
                  </a:cubicBezTo>
                  <a:cubicBezTo>
                    <a:pt x="17" y="137"/>
                    <a:pt x="11" y="135"/>
                    <a:pt x="7" y="131"/>
                  </a:cubicBezTo>
                  <a:cubicBezTo>
                    <a:pt x="2" y="127"/>
                    <a:pt x="0" y="122"/>
                    <a:pt x="0" y="11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3" y="0"/>
                    <a:pt x="115" y="0"/>
                    <a:pt x="116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34" y="2"/>
                    <a:pt x="148" y="17"/>
                    <a:pt x="148" y="36"/>
                  </a:cubicBezTo>
                  <a:cubicBezTo>
                    <a:pt x="148" y="116"/>
                    <a:pt x="148" y="116"/>
                    <a:pt x="148" y="116"/>
                  </a:cubicBezTo>
                  <a:cubicBezTo>
                    <a:pt x="148" y="122"/>
                    <a:pt x="146" y="127"/>
                    <a:pt x="141" y="131"/>
                  </a:cubicBezTo>
                  <a:cubicBezTo>
                    <a:pt x="137" y="135"/>
                    <a:pt x="131" y="137"/>
                    <a:pt x="126" y="136"/>
                  </a:cubicBezTo>
                  <a:cubicBezTo>
                    <a:pt x="123" y="136"/>
                    <a:pt x="120" y="135"/>
                    <a:pt x="118" y="134"/>
                  </a:cubicBezTo>
                  <a:cubicBezTo>
                    <a:pt x="118" y="238"/>
                    <a:pt x="118" y="238"/>
                    <a:pt x="118" y="238"/>
                  </a:cubicBezTo>
                  <a:cubicBezTo>
                    <a:pt x="118" y="251"/>
                    <a:pt x="107" y="262"/>
                    <a:pt x="93" y="262"/>
                  </a:cubicBezTo>
                  <a:close/>
                  <a:moveTo>
                    <a:pt x="74" y="232"/>
                  </a:moveTo>
                  <a:cubicBezTo>
                    <a:pt x="77" y="232"/>
                    <a:pt x="80" y="235"/>
                    <a:pt x="80" y="238"/>
                  </a:cubicBezTo>
                  <a:cubicBezTo>
                    <a:pt x="80" y="245"/>
                    <a:pt x="86" y="251"/>
                    <a:pt x="93" y="251"/>
                  </a:cubicBezTo>
                  <a:cubicBezTo>
                    <a:pt x="101" y="251"/>
                    <a:pt x="107" y="245"/>
                    <a:pt x="107" y="238"/>
                  </a:cubicBezTo>
                  <a:cubicBezTo>
                    <a:pt x="107" y="116"/>
                    <a:pt x="107" y="116"/>
                    <a:pt x="107" y="116"/>
                  </a:cubicBezTo>
                  <a:cubicBezTo>
                    <a:pt x="107" y="115"/>
                    <a:pt x="107" y="115"/>
                    <a:pt x="107" y="115"/>
                  </a:cubicBezTo>
                  <a:cubicBezTo>
                    <a:pt x="107" y="115"/>
                    <a:pt x="107" y="115"/>
                    <a:pt x="107" y="115"/>
                  </a:cubicBezTo>
                  <a:cubicBezTo>
                    <a:pt x="107" y="112"/>
                    <a:pt x="109" y="110"/>
                    <a:pt x="112" y="110"/>
                  </a:cubicBezTo>
                  <a:cubicBezTo>
                    <a:pt x="115" y="110"/>
                    <a:pt x="117" y="112"/>
                    <a:pt x="118" y="114"/>
                  </a:cubicBezTo>
                  <a:cubicBezTo>
                    <a:pt x="118" y="115"/>
                    <a:pt x="118" y="115"/>
                    <a:pt x="118" y="115"/>
                  </a:cubicBezTo>
                  <a:cubicBezTo>
                    <a:pt x="118" y="121"/>
                    <a:pt x="122" y="125"/>
                    <a:pt x="127" y="126"/>
                  </a:cubicBezTo>
                  <a:cubicBezTo>
                    <a:pt x="129" y="126"/>
                    <a:pt x="132" y="125"/>
                    <a:pt x="134" y="123"/>
                  </a:cubicBezTo>
                  <a:cubicBezTo>
                    <a:pt x="136" y="121"/>
                    <a:pt x="137" y="119"/>
                    <a:pt x="137" y="11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23"/>
                    <a:pt x="128" y="12"/>
                    <a:pt x="115" y="11"/>
                  </a:cubicBezTo>
                  <a:cubicBezTo>
                    <a:pt x="114" y="11"/>
                    <a:pt x="113" y="11"/>
                    <a:pt x="112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2" y="11"/>
                    <a:pt x="11" y="22"/>
                    <a:pt x="11" y="3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9"/>
                    <a:pt x="12" y="121"/>
                    <a:pt x="14" y="123"/>
                  </a:cubicBezTo>
                  <a:cubicBezTo>
                    <a:pt x="16" y="125"/>
                    <a:pt x="19" y="126"/>
                    <a:pt x="22" y="126"/>
                  </a:cubicBezTo>
                  <a:cubicBezTo>
                    <a:pt x="26" y="125"/>
                    <a:pt x="30" y="121"/>
                    <a:pt x="30" y="115"/>
                  </a:cubicBezTo>
                  <a:cubicBezTo>
                    <a:pt x="30" y="112"/>
                    <a:pt x="33" y="110"/>
                    <a:pt x="36" y="110"/>
                  </a:cubicBezTo>
                  <a:cubicBezTo>
                    <a:pt x="39" y="110"/>
                    <a:pt x="41" y="112"/>
                    <a:pt x="41" y="115"/>
                  </a:cubicBezTo>
                  <a:cubicBezTo>
                    <a:pt x="41" y="238"/>
                    <a:pt x="41" y="238"/>
                    <a:pt x="41" y="238"/>
                  </a:cubicBezTo>
                  <a:cubicBezTo>
                    <a:pt x="41" y="245"/>
                    <a:pt x="47" y="251"/>
                    <a:pt x="55" y="251"/>
                  </a:cubicBezTo>
                  <a:cubicBezTo>
                    <a:pt x="62" y="251"/>
                    <a:pt x="69" y="245"/>
                    <a:pt x="69" y="238"/>
                  </a:cubicBezTo>
                  <a:cubicBezTo>
                    <a:pt x="69" y="235"/>
                    <a:pt x="71" y="232"/>
                    <a:pt x="74" y="2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1379">
              <a:extLst>
                <a:ext uri="{FF2B5EF4-FFF2-40B4-BE49-F238E27FC236}">
                  <a16:creationId xmlns:a16="http://schemas.microsoft.com/office/drawing/2014/main" id="{2CF9FF8F-ED69-8D31-6BCE-AF040FE9F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40042" y="1123330"/>
              <a:ext cx="12700" cy="68263"/>
            </a:xfrm>
            <a:custGeom>
              <a:avLst/>
              <a:gdLst>
                <a:gd name="T0" fmla="*/ 6 w 11"/>
                <a:gd name="T1" fmla="*/ 66 h 66"/>
                <a:gd name="T2" fmla="*/ 0 w 11"/>
                <a:gd name="T3" fmla="*/ 60 h 66"/>
                <a:gd name="T4" fmla="*/ 0 w 11"/>
                <a:gd name="T5" fmla="*/ 5 h 66"/>
                <a:gd name="T6" fmla="*/ 6 w 11"/>
                <a:gd name="T7" fmla="*/ 0 h 66"/>
                <a:gd name="T8" fmla="*/ 11 w 11"/>
                <a:gd name="T9" fmla="*/ 5 h 66"/>
                <a:gd name="T10" fmla="*/ 11 w 11"/>
                <a:gd name="T11" fmla="*/ 60 h 66"/>
                <a:gd name="T12" fmla="*/ 6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6" y="66"/>
                  </a:moveTo>
                  <a:cubicBezTo>
                    <a:pt x="3" y="66"/>
                    <a:pt x="0" y="63"/>
                    <a:pt x="0" y="6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9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1380">
              <a:extLst>
                <a:ext uri="{FF2B5EF4-FFF2-40B4-BE49-F238E27FC236}">
                  <a16:creationId xmlns:a16="http://schemas.microsoft.com/office/drawing/2014/main" id="{C9F72400-1A15-93B3-252A-FE51B8EA3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59094" y="1123329"/>
              <a:ext cx="11113" cy="68263"/>
            </a:xfrm>
            <a:custGeom>
              <a:avLst/>
              <a:gdLst>
                <a:gd name="T0" fmla="*/ 5 w 11"/>
                <a:gd name="T1" fmla="*/ 66 h 66"/>
                <a:gd name="T2" fmla="*/ 0 w 11"/>
                <a:gd name="T3" fmla="*/ 60 h 66"/>
                <a:gd name="T4" fmla="*/ 0 w 11"/>
                <a:gd name="T5" fmla="*/ 5 h 66"/>
                <a:gd name="T6" fmla="*/ 5 w 11"/>
                <a:gd name="T7" fmla="*/ 0 h 66"/>
                <a:gd name="T8" fmla="*/ 11 w 11"/>
                <a:gd name="T9" fmla="*/ 5 h 66"/>
                <a:gd name="T10" fmla="*/ 11 w 11"/>
                <a:gd name="T11" fmla="*/ 60 h 66"/>
                <a:gd name="T12" fmla="*/ 5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5" y="66"/>
                  </a:moveTo>
                  <a:cubicBezTo>
                    <a:pt x="2" y="66"/>
                    <a:pt x="0" y="63"/>
                    <a:pt x="0" y="6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8" y="66"/>
                    <a:pt x="5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" name="Freeform 1381">
              <a:extLst>
                <a:ext uri="{FF2B5EF4-FFF2-40B4-BE49-F238E27FC236}">
                  <a16:creationId xmlns:a16="http://schemas.microsoft.com/office/drawing/2014/main" id="{DCA1DD7E-CDD8-DB1D-8C92-5031691E9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98838" y="1210643"/>
              <a:ext cx="11113" cy="107950"/>
            </a:xfrm>
            <a:custGeom>
              <a:avLst/>
              <a:gdLst>
                <a:gd name="T0" fmla="*/ 5 w 11"/>
                <a:gd name="T1" fmla="*/ 104 h 104"/>
                <a:gd name="T2" fmla="*/ 0 w 11"/>
                <a:gd name="T3" fmla="*/ 99 h 104"/>
                <a:gd name="T4" fmla="*/ 0 w 11"/>
                <a:gd name="T5" fmla="*/ 5 h 104"/>
                <a:gd name="T6" fmla="*/ 5 w 11"/>
                <a:gd name="T7" fmla="*/ 0 h 104"/>
                <a:gd name="T8" fmla="*/ 11 w 11"/>
                <a:gd name="T9" fmla="*/ 5 h 104"/>
                <a:gd name="T10" fmla="*/ 11 w 11"/>
                <a:gd name="T11" fmla="*/ 99 h 104"/>
                <a:gd name="T12" fmla="*/ 5 w 11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4">
                  <a:moveTo>
                    <a:pt x="5" y="104"/>
                  </a:moveTo>
                  <a:cubicBezTo>
                    <a:pt x="2" y="104"/>
                    <a:pt x="0" y="102"/>
                    <a:pt x="0" y="9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102"/>
                    <a:pt x="8" y="104"/>
                    <a:pt x="5" y="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9" name="Shape48_20200717_142846">
            <a:extLst>
              <a:ext uri="{FF2B5EF4-FFF2-40B4-BE49-F238E27FC236}">
                <a16:creationId xmlns:a16="http://schemas.microsoft.com/office/drawing/2014/main" id="{98BAE22F-136F-E70B-1149-0ECCCD337BF8}"/>
              </a:ext>
            </a:extLst>
          </p:cNvPr>
          <p:cNvGrpSpPr>
            <a:grpSpLocks noChangeAspect="1"/>
          </p:cNvGrpSpPr>
          <p:nvPr/>
        </p:nvGrpSpPr>
        <p:grpSpPr>
          <a:xfrm>
            <a:off x="1771531" y="2564032"/>
            <a:ext cx="815601" cy="530147"/>
            <a:chOff x="-1414426" y="1782150"/>
            <a:chExt cx="539735" cy="350841"/>
          </a:xfrm>
          <a:solidFill>
            <a:schemeClr val="accent1"/>
          </a:solidFill>
        </p:grpSpPr>
        <p:sp>
          <p:nvSpPr>
            <p:cNvPr id="20" name="Freeform 1454">
              <a:extLst>
                <a:ext uri="{FF2B5EF4-FFF2-40B4-BE49-F238E27FC236}">
                  <a16:creationId xmlns:a16="http://schemas.microsoft.com/office/drawing/2014/main" id="{DCACB033-7EF2-C1E3-BDE2-8C238977E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17593" y="1782150"/>
              <a:ext cx="442902" cy="301626"/>
            </a:xfrm>
            <a:custGeom>
              <a:avLst/>
              <a:gdLst>
                <a:gd name="T0" fmla="*/ 389 w 426"/>
                <a:gd name="T1" fmla="*/ 289 h 289"/>
                <a:gd name="T2" fmla="*/ 88 w 426"/>
                <a:gd name="T3" fmla="*/ 289 h 289"/>
                <a:gd name="T4" fmla="*/ 83 w 426"/>
                <a:gd name="T5" fmla="*/ 283 h 289"/>
                <a:gd name="T6" fmla="*/ 88 w 426"/>
                <a:gd name="T7" fmla="*/ 278 h 289"/>
                <a:gd name="T8" fmla="*/ 389 w 426"/>
                <a:gd name="T9" fmla="*/ 278 h 289"/>
                <a:gd name="T10" fmla="*/ 415 w 426"/>
                <a:gd name="T11" fmla="*/ 252 h 289"/>
                <a:gd name="T12" fmla="*/ 415 w 426"/>
                <a:gd name="T13" fmla="*/ 37 h 289"/>
                <a:gd name="T14" fmla="*/ 389 w 426"/>
                <a:gd name="T15" fmla="*/ 11 h 289"/>
                <a:gd name="T16" fmla="*/ 37 w 426"/>
                <a:gd name="T17" fmla="*/ 11 h 289"/>
                <a:gd name="T18" fmla="*/ 11 w 426"/>
                <a:gd name="T19" fmla="*/ 37 h 289"/>
                <a:gd name="T20" fmla="*/ 11 w 426"/>
                <a:gd name="T21" fmla="*/ 144 h 289"/>
                <a:gd name="T22" fmla="*/ 5 w 426"/>
                <a:gd name="T23" fmla="*/ 149 h 289"/>
                <a:gd name="T24" fmla="*/ 0 w 426"/>
                <a:gd name="T25" fmla="*/ 144 h 289"/>
                <a:gd name="T26" fmla="*/ 0 w 426"/>
                <a:gd name="T27" fmla="*/ 37 h 289"/>
                <a:gd name="T28" fmla="*/ 37 w 426"/>
                <a:gd name="T29" fmla="*/ 0 h 289"/>
                <a:gd name="T30" fmla="*/ 389 w 426"/>
                <a:gd name="T31" fmla="*/ 0 h 289"/>
                <a:gd name="T32" fmla="*/ 426 w 426"/>
                <a:gd name="T33" fmla="*/ 37 h 289"/>
                <a:gd name="T34" fmla="*/ 426 w 426"/>
                <a:gd name="T35" fmla="*/ 252 h 289"/>
                <a:gd name="T36" fmla="*/ 389 w 426"/>
                <a:gd name="T37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6" h="289">
                  <a:moveTo>
                    <a:pt x="389" y="289"/>
                  </a:moveTo>
                  <a:cubicBezTo>
                    <a:pt x="88" y="289"/>
                    <a:pt x="88" y="289"/>
                    <a:pt x="88" y="289"/>
                  </a:cubicBezTo>
                  <a:cubicBezTo>
                    <a:pt x="85" y="289"/>
                    <a:pt x="83" y="286"/>
                    <a:pt x="83" y="283"/>
                  </a:cubicBezTo>
                  <a:cubicBezTo>
                    <a:pt x="83" y="280"/>
                    <a:pt x="85" y="278"/>
                    <a:pt x="88" y="278"/>
                  </a:cubicBezTo>
                  <a:cubicBezTo>
                    <a:pt x="389" y="278"/>
                    <a:pt x="389" y="278"/>
                    <a:pt x="389" y="278"/>
                  </a:cubicBezTo>
                  <a:cubicBezTo>
                    <a:pt x="404" y="278"/>
                    <a:pt x="415" y="266"/>
                    <a:pt x="415" y="252"/>
                  </a:cubicBezTo>
                  <a:cubicBezTo>
                    <a:pt x="415" y="37"/>
                    <a:pt x="415" y="37"/>
                    <a:pt x="415" y="37"/>
                  </a:cubicBezTo>
                  <a:cubicBezTo>
                    <a:pt x="415" y="23"/>
                    <a:pt x="404" y="11"/>
                    <a:pt x="389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22" y="11"/>
                    <a:pt x="11" y="23"/>
                    <a:pt x="11" y="37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11" y="147"/>
                    <a:pt x="8" y="149"/>
                    <a:pt x="5" y="149"/>
                  </a:cubicBezTo>
                  <a:cubicBezTo>
                    <a:pt x="2" y="149"/>
                    <a:pt x="0" y="147"/>
                    <a:pt x="0" y="144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7"/>
                    <a:pt x="16" y="0"/>
                    <a:pt x="37" y="0"/>
                  </a:cubicBezTo>
                  <a:cubicBezTo>
                    <a:pt x="389" y="0"/>
                    <a:pt x="389" y="0"/>
                    <a:pt x="389" y="0"/>
                  </a:cubicBezTo>
                  <a:cubicBezTo>
                    <a:pt x="410" y="0"/>
                    <a:pt x="426" y="17"/>
                    <a:pt x="426" y="37"/>
                  </a:cubicBezTo>
                  <a:cubicBezTo>
                    <a:pt x="426" y="252"/>
                    <a:pt x="426" y="252"/>
                    <a:pt x="426" y="252"/>
                  </a:cubicBezTo>
                  <a:cubicBezTo>
                    <a:pt x="426" y="272"/>
                    <a:pt x="410" y="289"/>
                    <a:pt x="389" y="28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" name="Freeform 1455">
              <a:extLst>
                <a:ext uri="{FF2B5EF4-FFF2-40B4-BE49-F238E27FC236}">
                  <a16:creationId xmlns:a16="http://schemas.microsoft.com/office/drawing/2014/main" id="{90187A33-6271-E1D6-F125-599989FE0E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25510" y="2071076"/>
              <a:ext cx="58737" cy="61913"/>
            </a:xfrm>
            <a:custGeom>
              <a:avLst/>
              <a:gdLst>
                <a:gd name="T0" fmla="*/ 50 w 56"/>
                <a:gd name="T1" fmla="*/ 59 h 59"/>
                <a:gd name="T2" fmla="*/ 5 w 56"/>
                <a:gd name="T3" fmla="*/ 59 h 59"/>
                <a:gd name="T4" fmla="*/ 0 w 56"/>
                <a:gd name="T5" fmla="*/ 53 h 59"/>
                <a:gd name="T6" fmla="*/ 0 w 56"/>
                <a:gd name="T7" fmla="*/ 5 h 59"/>
                <a:gd name="T8" fmla="*/ 5 w 56"/>
                <a:gd name="T9" fmla="*/ 0 h 59"/>
                <a:gd name="T10" fmla="*/ 50 w 56"/>
                <a:gd name="T11" fmla="*/ 0 h 59"/>
                <a:gd name="T12" fmla="*/ 56 w 56"/>
                <a:gd name="T13" fmla="*/ 5 h 59"/>
                <a:gd name="T14" fmla="*/ 56 w 56"/>
                <a:gd name="T15" fmla="*/ 53 h 59"/>
                <a:gd name="T16" fmla="*/ 50 w 56"/>
                <a:gd name="T17" fmla="*/ 59 h 59"/>
                <a:gd name="T18" fmla="*/ 11 w 56"/>
                <a:gd name="T19" fmla="*/ 48 h 59"/>
                <a:gd name="T20" fmla="*/ 45 w 56"/>
                <a:gd name="T21" fmla="*/ 48 h 59"/>
                <a:gd name="T22" fmla="*/ 45 w 56"/>
                <a:gd name="T23" fmla="*/ 11 h 59"/>
                <a:gd name="T24" fmla="*/ 11 w 56"/>
                <a:gd name="T25" fmla="*/ 11 h 59"/>
                <a:gd name="T26" fmla="*/ 11 w 56"/>
                <a:gd name="T27" fmla="*/ 48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59">
                  <a:moveTo>
                    <a:pt x="50" y="59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2" y="59"/>
                    <a:pt x="0" y="56"/>
                    <a:pt x="0" y="5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3" y="0"/>
                    <a:pt x="56" y="2"/>
                    <a:pt x="56" y="5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6"/>
                    <a:pt x="53" y="59"/>
                    <a:pt x="50" y="59"/>
                  </a:cubicBezTo>
                  <a:close/>
                  <a:moveTo>
                    <a:pt x="11" y="48"/>
                  </a:moveTo>
                  <a:cubicBezTo>
                    <a:pt x="45" y="48"/>
                    <a:pt x="45" y="48"/>
                    <a:pt x="45" y="48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" name="Freeform 1456">
              <a:extLst>
                <a:ext uri="{FF2B5EF4-FFF2-40B4-BE49-F238E27FC236}">
                  <a16:creationId xmlns:a16="http://schemas.microsoft.com/office/drawing/2014/main" id="{AE1AC82A-D3B1-0BDB-9CDD-C489DDE04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69959" y="2121876"/>
              <a:ext cx="147634" cy="11113"/>
            </a:xfrm>
            <a:custGeom>
              <a:avLst/>
              <a:gdLst>
                <a:gd name="T0" fmla="*/ 136 w 142"/>
                <a:gd name="T1" fmla="*/ 11 h 11"/>
                <a:gd name="T2" fmla="*/ 6 w 142"/>
                <a:gd name="T3" fmla="*/ 11 h 11"/>
                <a:gd name="T4" fmla="*/ 0 w 142"/>
                <a:gd name="T5" fmla="*/ 5 h 11"/>
                <a:gd name="T6" fmla="*/ 6 w 142"/>
                <a:gd name="T7" fmla="*/ 0 h 11"/>
                <a:gd name="T8" fmla="*/ 136 w 142"/>
                <a:gd name="T9" fmla="*/ 0 h 11"/>
                <a:gd name="T10" fmla="*/ 142 w 142"/>
                <a:gd name="T11" fmla="*/ 5 h 11"/>
                <a:gd name="T12" fmla="*/ 136 w 142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11">
                  <a:moveTo>
                    <a:pt x="136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9" y="0"/>
                    <a:pt x="142" y="2"/>
                    <a:pt x="142" y="5"/>
                  </a:cubicBezTo>
                  <a:cubicBezTo>
                    <a:pt x="142" y="8"/>
                    <a:pt x="139" y="11"/>
                    <a:pt x="13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1457">
              <a:extLst>
                <a:ext uri="{FF2B5EF4-FFF2-40B4-BE49-F238E27FC236}">
                  <a16:creationId xmlns:a16="http://schemas.microsoft.com/office/drawing/2014/main" id="{1FC75551-C787-BF84-AEB6-FDA71A577C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66774" y="1875812"/>
              <a:ext cx="63498" cy="66675"/>
            </a:xfrm>
            <a:custGeom>
              <a:avLst/>
              <a:gdLst>
                <a:gd name="T0" fmla="*/ 7 w 61"/>
                <a:gd name="T1" fmla="*/ 64 h 64"/>
                <a:gd name="T2" fmla="*/ 3 w 61"/>
                <a:gd name="T3" fmla="*/ 63 h 64"/>
                <a:gd name="T4" fmla="*/ 2 w 61"/>
                <a:gd name="T5" fmla="*/ 55 h 64"/>
                <a:gd name="T6" fmla="*/ 51 w 61"/>
                <a:gd name="T7" fmla="*/ 3 h 64"/>
                <a:gd name="T8" fmla="*/ 59 w 61"/>
                <a:gd name="T9" fmla="*/ 2 h 64"/>
                <a:gd name="T10" fmla="*/ 59 w 61"/>
                <a:gd name="T11" fmla="*/ 10 h 64"/>
                <a:gd name="T12" fmla="*/ 11 w 61"/>
                <a:gd name="T13" fmla="*/ 63 h 64"/>
                <a:gd name="T14" fmla="*/ 7 w 61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64">
                  <a:moveTo>
                    <a:pt x="7" y="64"/>
                  </a:moveTo>
                  <a:cubicBezTo>
                    <a:pt x="5" y="64"/>
                    <a:pt x="4" y="64"/>
                    <a:pt x="3" y="63"/>
                  </a:cubicBezTo>
                  <a:cubicBezTo>
                    <a:pt x="1" y="61"/>
                    <a:pt x="0" y="57"/>
                    <a:pt x="2" y="55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3" y="1"/>
                    <a:pt x="56" y="0"/>
                    <a:pt x="59" y="2"/>
                  </a:cubicBezTo>
                  <a:cubicBezTo>
                    <a:pt x="61" y="4"/>
                    <a:pt x="61" y="8"/>
                    <a:pt x="59" y="10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9" y="64"/>
                    <a:pt x="8" y="64"/>
                    <a:pt x="7" y="6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1458">
              <a:extLst>
                <a:ext uri="{FF2B5EF4-FFF2-40B4-BE49-F238E27FC236}">
                  <a16:creationId xmlns:a16="http://schemas.microsoft.com/office/drawing/2014/main" id="{ADB7A223-95A7-B3FF-DD23-FF809E31AB6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25510" y="1915500"/>
              <a:ext cx="47624" cy="31750"/>
            </a:xfrm>
            <a:custGeom>
              <a:avLst/>
              <a:gdLst>
                <a:gd name="T0" fmla="*/ 40 w 47"/>
                <a:gd name="T1" fmla="*/ 32 h 32"/>
                <a:gd name="T2" fmla="*/ 38 w 47"/>
                <a:gd name="T3" fmla="*/ 31 h 32"/>
                <a:gd name="T4" fmla="*/ 4 w 47"/>
                <a:gd name="T5" fmla="*/ 11 h 32"/>
                <a:gd name="T6" fmla="*/ 2 w 47"/>
                <a:gd name="T7" fmla="*/ 4 h 32"/>
                <a:gd name="T8" fmla="*/ 9 w 47"/>
                <a:gd name="T9" fmla="*/ 2 h 32"/>
                <a:gd name="T10" fmla="*/ 43 w 47"/>
                <a:gd name="T11" fmla="*/ 21 h 32"/>
                <a:gd name="T12" fmla="*/ 45 w 47"/>
                <a:gd name="T13" fmla="*/ 29 h 32"/>
                <a:gd name="T14" fmla="*/ 40 w 47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32">
                  <a:moveTo>
                    <a:pt x="40" y="32"/>
                  </a:moveTo>
                  <a:cubicBezTo>
                    <a:pt x="40" y="32"/>
                    <a:pt x="39" y="31"/>
                    <a:pt x="38" y="3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1" y="10"/>
                    <a:pt x="0" y="6"/>
                    <a:pt x="2" y="4"/>
                  </a:cubicBezTo>
                  <a:cubicBezTo>
                    <a:pt x="3" y="1"/>
                    <a:pt x="7" y="0"/>
                    <a:pt x="9" y="2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6" y="23"/>
                    <a:pt x="47" y="26"/>
                    <a:pt x="45" y="29"/>
                  </a:cubicBezTo>
                  <a:cubicBezTo>
                    <a:pt x="44" y="31"/>
                    <a:pt x="42" y="32"/>
                    <a:pt x="40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" name="Freeform 1459">
              <a:extLst>
                <a:ext uri="{FF2B5EF4-FFF2-40B4-BE49-F238E27FC236}">
                  <a16:creationId xmlns:a16="http://schemas.microsoft.com/office/drawing/2014/main" id="{1E8D0B1E-9AA5-A97B-739B-05F430B09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11233" y="1918675"/>
              <a:ext cx="73023" cy="68263"/>
            </a:xfrm>
            <a:custGeom>
              <a:avLst/>
              <a:gdLst>
                <a:gd name="T0" fmla="*/ 6 w 70"/>
                <a:gd name="T1" fmla="*/ 66 h 66"/>
                <a:gd name="T2" fmla="*/ 2 w 70"/>
                <a:gd name="T3" fmla="*/ 65 h 66"/>
                <a:gd name="T4" fmla="*/ 2 w 70"/>
                <a:gd name="T5" fmla="*/ 57 h 66"/>
                <a:gd name="T6" fmla="*/ 60 w 70"/>
                <a:gd name="T7" fmla="*/ 2 h 66"/>
                <a:gd name="T8" fmla="*/ 67 w 70"/>
                <a:gd name="T9" fmla="*/ 3 h 66"/>
                <a:gd name="T10" fmla="*/ 67 w 70"/>
                <a:gd name="T11" fmla="*/ 10 h 66"/>
                <a:gd name="T12" fmla="*/ 10 w 70"/>
                <a:gd name="T13" fmla="*/ 65 h 66"/>
                <a:gd name="T14" fmla="*/ 6 w 70"/>
                <a:gd name="T1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66">
                  <a:moveTo>
                    <a:pt x="6" y="66"/>
                  </a:moveTo>
                  <a:cubicBezTo>
                    <a:pt x="4" y="66"/>
                    <a:pt x="3" y="66"/>
                    <a:pt x="2" y="65"/>
                  </a:cubicBezTo>
                  <a:cubicBezTo>
                    <a:pt x="0" y="63"/>
                    <a:pt x="0" y="59"/>
                    <a:pt x="2" y="57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2" y="0"/>
                    <a:pt x="65" y="0"/>
                    <a:pt x="67" y="3"/>
                  </a:cubicBezTo>
                  <a:cubicBezTo>
                    <a:pt x="70" y="5"/>
                    <a:pt x="69" y="8"/>
                    <a:pt x="67" y="10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9" y="66"/>
                    <a:pt x="7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" name="Freeform 1460">
              <a:extLst>
                <a:ext uri="{FF2B5EF4-FFF2-40B4-BE49-F238E27FC236}">
                  <a16:creationId xmlns:a16="http://schemas.microsoft.com/office/drawing/2014/main" id="{2C4FB14A-5AD2-4ACC-18B5-1E855916E2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54084" y="1891687"/>
              <a:ext cx="41274" cy="42863"/>
            </a:xfrm>
            <a:custGeom>
              <a:avLst/>
              <a:gdLst>
                <a:gd name="T0" fmla="*/ 20 w 40"/>
                <a:gd name="T1" fmla="*/ 41 h 41"/>
                <a:gd name="T2" fmla="*/ 0 w 40"/>
                <a:gd name="T3" fmla="*/ 21 h 41"/>
                <a:gd name="T4" fmla="*/ 20 w 40"/>
                <a:gd name="T5" fmla="*/ 0 h 41"/>
                <a:gd name="T6" fmla="*/ 40 w 40"/>
                <a:gd name="T7" fmla="*/ 21 h 41"/>
                <a:gd name="T8" fmla="*/ 20 w 40"/>
                <a:gd name="T9" fmla="*/ 41 h 41"/>
                <a:gd name="T10" fmla="*/ 20 w 40"/>
                <a:gd name="T11" fmla="*/ 11 h 41"/>
                <a:gd name="T12" fmla="*/ 11 w 40"/>
                <a:gd name="T13" fmla="*/ 21 h 41"/>
                <a:gd name="T14" fmla="*/ 20 w 40"/>
                <a:gd name="T15" fmla="*/ 30 h 41"/>
                <a:gd name="T16" fmla="*/ 29 w 40"/>
                <a:gd name="T17" fmla="*/ 21 h 41"/>
                <a:gd name="T18" fmla="*/ 20 w 40"/>
                <a:gd name="T19" fmla="*/ 1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1">
                  <a:moveTo>
                    <a:pt x="20" y="41"/>
                  </a:moveTo>
                  <a:cubicBezTo>
                    <a:pt x="9" y="41"/>
                    <a:pt x="0" y="32"/>
                    <a:pt x="0" y="21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1"/>
                  </a:cubicBezTo>
                  <a:cubicBezTo>
                    <a:pt x="40" y="32"/>
                    <a:pt x="31" y="41"/>
                    <a:pt x="20" y="41"/>
                  </a:cubicBezTo>
                  <a:close/>
                  <a:moveTo>
                    <a:pt x="20" y="11"/>
                  </a:moveTo>
                  <a:cubicBezTo>
                    <a:pt x="15" y="11"/>
                    <a:pt x="11" y="16"/>
                    <a:pt x="11" y="21"/>
                  </a:cubicBezTo>
                  <a:cubicBezTo>
                    <a:pt x="11" y="26"/>
                    <a:pt x="15" y="30"/>
                    <a:pt x="20" y="30"/>
                  </a:cubicBezTo>
                  <a:cubicBezTo>
                    <a:pt x="25" y="30"/>
                    <a:pt x="29" y="26"/>
                    <a:pt x="29" y="21"/>
                  </a:cubicBezTo>
                  <a:cubicBezTo>
                    <a:pt x="29" y="16"/>
                    <a:pt x="25" y="11"/>
                    <a:pt x="2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" name="Freeform 1461">
              <a:extLst>
                <a:ext uri="{FF2B5EF4-FFF2-40B4-BE49-F238E27FC236}">
                  <a16:creationId xmlns:a16="http://schemas.microsoft.com/office/drawing/2014/main" id="{6BD978EC-0C49-177F-53DC-15B8383849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90586" y="1929787"/>
              <a:ext cx="41274" cy="41275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11 h 40"/>
                <a:gd name="T12" fmla="*/ 11 w 40"/>
                <a:gd name="T13" fmla="*/ 20 h 40"/>
                <a:gd name="T14" fmla="*/ 20 w 40"/>
                <a:gd name="T15" fmla="*/ 29 h 40"/>
                <a:gd name="T16" fmla="*/ 29 w 40"/>
                <a:gd name="T17" fmla="*/ 20 h 40"/>
                <a:gd name="T18" fmla="*/ 20 w 40"/>
                <a:gd name="T19" fmla="*/ 1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11"/>
                  </a:moveTo>
                  <a:cubicBezTo>
                    <a:pt x="15" y="11"/>
                    <a:pt x="11" y="15"/>
                    <a:pt x="11" y="20"/>
                  </a:cubicBezTo>
                  <a:cubicBezTo>
                    <a:pt x="11" y="25"/>
                    <a:pt x="15" y="29"/>
                    <a:pt x="20" y="29"/>
                  </a:cubicBezTo>
                  <a:cubicBezTo>
                    <a:pt x="25" y="29"/>
                    <a:pt x="29" y="25"/>
                    <a:pt x="29" y="20"/>
                  </a:cubicBezTo>
                  <a:cubicBezTo>
                    <a:pt x="29" y="15"/>
                    <a:pt x="25" y="11"/>
                    <a:pt x="2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" name="Freeform 1462">
              <a:extLst>
                <a:ext uri="{FF2B5EF4-FFF2-40B4-BE49-F238E27FC236}">
                  <a16:creationId xmlns:a16="http://schemas.microsoft.com/office/drawing/2014/main" id="{C4E141D9-C7B7-6659-837D-E5DC4EC0EE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19151" y="1850412"/>
              <a:ext cx="42862" cy="41275"/>
            </a:xfrm>
            <a:custGeom>
              <a:avLst/>
              <a:gdLst>
                <a:gd name="T0" fmla="*/ 21 w 41"/>
                <a:gd name="T1" fmla="*/ 40 h 40"/>
                <a:gd name="T2" fmla="*/ 0 w 41"/>
                <a:gd name="T3" fmla="*/ 20 h 40"/>
                <a:gd name="T4" fmla="*/ 21 w 41"/>
                <a:gd name="T5" fmla="*/ 0 h 40"/>
                <a:gd name="T6" fmla="*/ 41 w 41"/>
                <a:gd name="T7" fmla="*/ 20 h 40"/>
                <a:gd name="T8" fmla="*/ 21 w 41"/>
                <a:gd name="T9" fmla="*/ 40 h 40"/>
                <a:gd name="T10" fmla="*/ 21 w 41"/>
                <a:gd name="T11" fmla="*/ 11 h 40"/>
                <a:gd name="T12" fmla="*/ 11 w 41"/>
                <a:gd name="T13" fmla="*/ 20 h 40"/>
                <a:gd name="T14" fmla="*/ 21 w 41"/>
                <a:gd name="T15" fmla="*/ 29 h 40"/>
                <a:gd name="T16" fmla="*/ 30 w 41"/>
                <a:gd name="T17" fmla="*/ 20 h 40"/>
                <a:gd name="T18" fmla="*/ 21 w 41"/>
                <a:gd name="T19" fmla="*/ 1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0">
                  <a:moveTo>
                    <a:pt x="21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32" y="0"/>
                    <a:pt x="41" y="9"/>
                    <a:pt x="41" y="20"/>
                  </a:cubicBezTo>
                  <a:cubicBezTo>
                    <a:pt x="41" y="31"/>
                    <a:pt x="32" y="40"/>
                    <a:pt x="21" y="40"/>
                  </a:cubicBezTo>
                  <a:close/>
                  <a:moveTo>
                    <a:pt x="21" y="11"/>
                  </a:moveTo>
                  <a:cubicBezTo>
                    <a:pt x="16" y="11"/>
                    <a:pt x="11" y="15"/>
                    <a:pt x="11" y="20"/>
                  </a:cubicBezTo>
                  <a:cubicBezTo>
                    <a:pt x="11" y="25"/>
                    <a:pt x="16" y="29"/>
                    <a:pt x="21" y="29"/>
                  </a:cubicBezTo>
                  <a:cubicBezTo>
                    <a:pt x="26" y="29"/>
                    <a:pt x="30" y="25"/>
                    <a:pt x="30" y="20"/>
                  </a:cubicBezTo>
                  <a:cubicBezTo>
                    <a:pt x="30" y="15"/>
                    <a:pt x="26" y="11"/>
                    <a:pt x="2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" name="Freeform 1463">
              <a:extLst>
                <a:ext uri="{FF2B5EF4-FFF2-40B4-BE49-F238E27FC236}">
                  <a16:creationId xmlns:a16="http://schemas.microsoft.com/office/drawing/2014/main" id="{2F63557B-98B9-CE14-D99C-D45EE373A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12821" y="1844062"/>
              <a:ext cx="249232" cy="176214"/>
            </a:xfrm>
            <a:custGeom>
              <a:avLst/>
              <a:gdLst>
                <a:gd name="T0" fmla="*/ 236 w 241"/>
                <a:gd name="T1" fmla="*/ 170 h 170"/>
                <a:gd name="T2" fmla="*/ 6 w 241"/>
                <a:gd name="T3" fmla="*/ 170 h 170"/>
                <a:gd name="T4" fmla="*/ 0 w 241"/>
                <a:gd name="T5" fmla="*/ 164 h 170"/>
                <a:gd name="T6" fmla="*/ 0 w 241"/>
                <a:gd name="T7" fmla="*/ 5 h 170"/>
                <a:gd name="T8" fmla="*/ 6 w 241"/>
                <a:gd name="T9" fmla="*/ 0 h 170"/>
                <a:gd name="T10" fmla="*/ 11 w 241"/>
                <a:gd name="T11" fmla="*/ 5 h 170"/>
                <a:gd name="T12" fmla="*/ 11 w 241"/>
                <a:gd name="T13" fmla="*/ 159 h 170"/>
                <a:gd name="T14" fmla="*/ 236 w 241"/>
                <a:gd name="T15" fmla="*/ 159 h 170"/>
                <a:gd name="T16" fmla="*/ 241 w 241"/>
                <a:gd name="T17" fmla="*/ 164 h 170"/>
                <a:gd name="T18" fmla="*/ 236 w 241"/>
                <a:gd name="T19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1" h="170">
                  <a:moveTo>
                    <a:pt x="236" y="170"/>
                  </a:moveTo>
                  <a:cubicBezTo>
                    <a:pt x="6" y="170"/>
                    <a:pt x="6" y="170"/>
                    <a:pt x="6" y="170"/>
                  </a:cubicBezTo>
                  <a:cubicBezTo>
                    <a:pt x="3" y="170"/>
                    <a:pt x="0" y="167"/>
                    <a:pt x="0" y="16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159"/>
                    <a:pt x="11" y="159"/>
                    <a:pt x="11" y="159"/>
                  </a:cubicBezTo>
                  <a:cubicBezTo>
                    <a:pt x="236" y="159"/>
                    <a:pt x="236" y="159"/>
                    <a:pt x="236" y="159"/>
                  </a:cubicBezTo>
                  <a:cubicBezTo>
                    <a:pt x="239" y="159"/>
                    <a:pt x="241" y="161"/>
                    <a:pt x="241" y="164"/>
                  </a:cubicBezTo>
                  <a:cubicBezTo>
                    <a:pt x="241" y="167"/>
                    <a:pt x="239" y="170"/>
                    <a:pt x="236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" name="Freeform 1464">
              <a:extLst>
                <a:ext uri="{FF2B5EF4-FFF2-40B4-BE49-F238E27FC236}">
                  <a16:creationId xmlns:a16="http://schemas.microsoft.com/office/drawing/2014/main" id="{D1E405D2-437C-83D0-215D-4A88B342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30282" y="1842477"/>
              <a:ext cx="44449" cy="30163"/>
            </a:xfrm>
            <a:custGeom>
              <a:avLst/>
              <a:gdLst>
                <a:gd name="T0" fmla="*/ 37 w 43"/>
                <a:gd name="T1" fmla="*/ 27 h 28"/>
                <a:gd name="T2" fmla="*/ 33 w 43"/>
                <a:gd name="T3" fmla="*/ 26 h 28"/>
                <a:gd name="T4" fmla="*/ 22 w 43"/>
                <a:gd name="T5" fmla="*/ 14 h 28"/>
                <a:gd name="T6" fmla="*/ 10 w 43"/>
                <a:gd name="T7" fmla="*/ 26 h 28"/>
                <a:gd name="T8" fmla="*/ 2 w 43"/>
                <a:gd name="T9" fmla="*/ 26 h 28"/>
                <a:gd name="T10" fmla="*/ 2 w 43"/>
                <a:gd name="T11" fmla="*/ 18 h 28"/>
                <a:gd name="T12" fmla="*/ 18 w 43"/>
                <a:gd name="T13" fmla="*/ 2 h 28"/>
                <a:gd name="T14" fmla="*/ 25 w 43"/>
                <a:gd name="T15" fmla="*/ 2 h 28"/>
                <a:gd name="T16" fmla="*/ 41 w 43"/>
                <a:gd name="T17" fmla="*/ 18 h 28"/>
                <a:gd name="T18" fmla="*/ 41 w 43"/>
                <a:gd name="T19" fmla="*/ 26 h 28"/>
                <a:gd name="T20" fmla="*/ 37 w 43"/>
                <a:gd name="T21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" h="28">
                  <a:moveTo>
                    <a:pt x="37" y="27"/>
                  </a:moveTo>
                  <a:cubicBezTo>
                    <a:pt x="36" y="27"/>
                    <a:pt x="34" y="27"/>
                    <a:pt x="33" y="26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8" y="28"/>
                    <a:pt x="4" y="28"/>
                    <a:pt x="2" y="26"/>
                  </a:cubicBezTo>
                  <a:cubicBezTo>
                    <a:pt x="0" y="24"/>
                    <a:pt x="0" y="20"/>
                    <a:pt x="2" y="18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20" y="0"/>
                    <a:pt x="23" y="0"/>
                    <a:pt x="25" y="2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3" y="20"/>
                    <a:pt x="43" y="24"/>
                    <a:pt x="41" y="26"/>
                  </a:cubicBezTo>
                  <a:cubicBezTo>
                    <a:pt x="40" y="27"/>
                    <a:pt x="38" y="27"/>
                    <a:pt x="37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" name="Freeform 1465">
              <a:extLst>
                <a:ext uri="{FF2B5EF4-FFF2-40B4-BE49-F238E27FC236}">
                  <a16:creationId xmlns:a16="http://schemas.microsoft.com/office/drawing/2014/main" id="{6F9D02B4-2EFB-D27E-30AD-3B8DB762E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-990576" y="1993290"/>
              <a:ext cx="26987" cy="42863"/>
            </a:xfrm>
            <a:custGeom>
              <a:avLst/>
              <a:gdLst>
                <a:gd name="T0" fmla="*/ 6 w 27"/>
                <a:gd name="T1" fmla="*/ 42 h 42"/>
                <a:gd name="T2" fmla="*/ 2 w 27"/>
                <a:gd name="T3" fmla="*/ 41 h 42"/>
                <a:gd name="T4" fmla="*/ 2 w 27"/>
                <a:gd name="T5" fmla="*/ 33 h 42"/>
                <a:gd name="T6" fmla="*/ 14 w 27"/>
                <a:gd name="T7" fmla="*/ 21 h 42"/>
                <a:gd name="T8" fmla="*/ 2 w 27"/>
                <a:gd name="T9" fmla="*/ 10 h 42"/>
                <a:gd name="T10" fmla="*/ 2 w 27"/>
                <a:gd name="T11" fmla="*/ 2 h 42"/>
                <a:gd name="T12" fmla="*/ 10 w 27"/>
                <a:gd name="T13" fmla="*/ 2 h 42"/>
                <a:gd name="T14" fmla="*/ 26 w 27"/>
                <a:gd name="T15" fmla="*/ 18 h 42"/>
                <a:gd name="T16" fmla="*/ 27 w 27"/>
                <a:gd name="T17" fmla="*/ 21 h 42"/>
                <a:gd name="T18" fmla="*/ 26 w 27"/>
                <a:gd name="T19" fmla="*/ 25 h 42"/>
                <a:gd name="T20" fmla="*/ 10 w 27"/>
                <a:gd name="T21" fmla="*/ 41 h 42"/>
                <a:gd name="T22" fmla="*/ 6 w 27"/>
                <a:gd name="T2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42">
                  <a:moveTo>
                    <a:pt x="6" y="42"/>
                  </a:moveTo>
                  <a:cubicBezTo>
                    <a:pt x="5" y="42"/>
                    <a:pt x="4" y="42"/>
                    <a:pt x="2" y="41"/>
                  </a:cubicBezTo>
                  <a:cubicBezTo>
                    <a:pt x="0" y="39"/>
                    <a:pt x="0" y="35"/>
                    <a:pt x="2" y="33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8" y="0"/>
                    <a:pt x="10" y="2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7" y="19"/>
                    <a:pt x="27" y="20"/>
                    <a:pt x="27" y="21"/>
                  </a:cubicBezTo>
                  <a:cubicBezTo>
                    <a:pt x="27" y="23"/>
                    <a:pt x="27" y="24"/>
                    <a:pt x="26" y="25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9" y="42"/>
                    <a:pt x="8" y="42"/>
                    <a:pt x="6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" name="Freeform 1466">
              <a:extLst>
                <a:ext uri="{FF2B5EF4-FFF2-40B4-BE49-F238E27FC236}">
                  <a16:creationId xmlns:a16="http://schemas.microsoft.com/office/drawing/2014/main" id="{898D7596-9C60-770F-F26E-F2E921E65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14426" y="2023452"/>
              <a:ext cx="195258" cy="109539"/>
            </a:xfrm>
            <a:custGeom>
              <a:avLst/>
              <a:gdLst>
                <a:gd name="T0" fmla="*/ 182 w 188"/>
                <a:gd name="T1" fmla="*/ 105 h 105"/>
                <a:gd name="T2" fmla="*/ 177 w 188"/>
                <a:gd name="T3" fmla="*/ 99 h 105"/>
                <a:gd name="T4" fmla="*/ 177 w 188"/>
                <a:gd name="T5" fmla="*/ 44 h 105"/>
                <a:gd name="T6" fmla="*/ 143 w 188"/>
                <a:gd name="T7" fmla="*/ 11 h 105"/>
                <a:gd name="T8" fmla="*/ 45 w 188"/>
                <a:gd name="T9" fmla="*/ 11 h 105"/>
                <a:gd name="T10" fmla="*/ 11 w 188"/>
                <a:gd name="T11" fmla="*/ 44 h 105"/>
                <a:gd name="T12" fmla="*/ 11 w 188"/>
                <a:gd name="T13" fmla="*/ 99 h 105"/>
                <a:gd name="T14" fmla="*/ 6 w 188"/>
                <a:gd name="T15" fmla="*/ 105 h 105"/>
                <a:gd name="T16" fmla="*/ 0 w 188"/>
                <a:gd name="T17" fmla="*/ 99 h 105"/>
                <a:gd name="T18" fmla="*/ 0 w 188"/>
                <a:gd name="T19" fmla="*/ 44 h 105"/>
                <a:gd name="T20" fmla="*/ 45 w 188"/>
                <a:gd name="T21" fmla="*/ 0 h 105"/>
                <a:gd name="T22" fmla="*/ 143 w 188"/>
                <a:gd name="T23" fmla="*/ 0 h 105"/>
                <a:gd name="T24" fmla="*/ 188 w 188"/>
                <a:gd name="T25" fmla="*/ 44 h 105"/>
                <a:gd name="T26" fmla="*/ 188 w 188"/>
                <a:gd name="T27" fmla="*/ 99 h 105"/>
                <a:gd name="T28" fmla="*/ 182 w 188"/>
                <a:gd name="T29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8" h="105">
                  <a:moveTo>
                    <a:pt x="182" y="105"/>
                  </a:moveTo>
                  <a:cubicBezTo>
                    <a:pt x="179" y="105"/>
                    <a:pt x="177" y="102"/>
                    <a:pt x="177" y="99"/>
                  </a:cubicBezTo>
                  <a:cubicBezTo>
                    <a:pt x="177" y="44"/>
                    <a:pt x="177" y="44"/>
                    <a:pt x="177" y="44"/>
                  </a:cubicBezTo>
                  <a:cubicBezTo>
                    <a:pt x="177" y="26"/>
                    <a:pt x="162" y="11"/>
                    <a:pt x="143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26" y="11"/>
                    <a:pt x="11" y="26"/>
                    <a:pt x="11" y="44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102"/>
                    <a:pt x="9" y="105"/>
                    <a:pt x="6" y="105"/>
                  </a:cubicBezTo>
                  <a:cubicBezTo>
                    <a:pt x="3" y="105"/>
                    <a:pt x="0" y="102"/>
                    <a:pt x="0" y="9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68" y="0"/>
                    <a:pt x="188" y="20"/>
                    <a:pt x="188" y="44"/>
                  </a:cubicBezTo>
                  <a:cubicBezTo>
                    <a:pt x="188" y="99"/>
                    <a:pt x="188" y="99"/>
                    <a:pt x="188" y="99"/>
                  </a:cubicBezTo>
                  <a:cubicBezTo>
                    <a:pt x="188" y="102"/>
                    <a:pt x="185" y="105"/>
                    <a:pt x="182" y="10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" name="Freeform 1467">
              <a:extLst>
                <a:ext uri="{FF2B5EF4-FFF2-40B4-BE49-F238E27FC236}">
                  <a16:creationId xmlns:a16="http://schemas.microsoft.com/office/drawing/2014/main" id="{FA002F11-062B-B518-7CA6-D006105FFE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357277" y="1926617"/>
              <a:ext cx="79373" cy="80964"/>
            </a:xfrm>
            <a:custGeom>
              <a:avLst/>
              <a:gdLst>
                <a:gd name="T0" fmla="*/ 39 w 77"/>
                <a:gd name="T1" fmla="*/ 77 h 77"/>
                <a:gd name="T2" fmla="*/ 0 w 77"/>
                <a:gd name="T3" fmla="*/ 39 h 77"/>
                <a:gd name="T4" fmla="*/ 39 w 77"/>
                <a:gd name="T5" fmla="*/ 0 h 77"/>
                <a:gd name="T6" fmla="*/ 77 w 77"/>
                <a:gd name="T7" fmla="*/ 39 h 77"/>
                <a:gd name="T8" fmla="*/ 39 w 77"/>
                <a:gd name="T9" fmla="*/ 77 h 77"/>
                <a:gd name="T10" fmla="*/ 39 w 77"/>
                <a:gd name="T11" fmla="*/ 11 h 77"/>
                <a:gd name="T12" fmla="*/ 11 w 77"/>
                <a:gd name="T13" fmla="*/ 39 h 77"/>
                <a:gd name="T14" fmla="*/ 39 w 77"/>
                <a:gd name="T15" fmla="*/ 66 h 77"/>
                <a:gd name="T16" fmla="*/ 66 w 77"/>
                <a:gd name="T17" fmla="*/ 39 h 77"/>
                <a:gd name="T18" fmla="*/ 39 w 77"/>
                <a:gd name="T19" fmla="*/ 1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7">
                  <a:moveTo>
                    <a:pt x="39" y="77"/>
                  </a:moveTo>
                  <a:cubicBezTo>
                    <a:pt x="18" y="77"/>
                    <a:pt x="0" y="60"/>
                    <a:pt x="0" y="39"/>
                  </a:cubicBezTo>
                  <a:cubicBezTo>
                    <a:pt x="0" y="17"/>
                    <a:pt x="18" y="0"/>
                    <a:pt x="39" y="0"/>
                  </a:cubicBezTo>
                  <a:cubicBezTo>
                    <a:pt x="60" y="0"/>
                    <a:pt x="77" y="17"/>
                    <a:pt x="77" y="39"/>
                  </a:cubicBezTo>
                  <a:cubicBezTo>
                    <a:pt x="77" y="60"/>
                    <a:pt x="60" y="77"/>
                    <a:pt x="39" y="77"/>
                  </a:cubicBezTo>
                  <a:close/>
                  <a:moveTo>
                    <a:pt x="39" y="11"/>
                  </a:moveTo>
                  <a:cubicBezTo>
                    <a:pt x="24" y="11"/>
                    <a:pt x="11" y="23"/>
                    <a:pt x="11" y="39"/>
                  </a:cubicBezTo>
                  <a:cubicBezTo>
                    <a:pt x="11" y="54"/>
                    <a:pt x="24" y="66"/>
                    <a:pt x="39" y="66"/>
                  </a:cubicBezTo>
                  <a:cubicBezTo>
                    <a:pt x="54" y="66"/>
                    <a:pt x="66" y="54"/>
                    <a:pt x="66" y="39"/>
                  </a:cubicBezTo>
                  <a:cubicBezTo>
                    <a:pt x="66" y="23"/>
                    <a:pt x="54" y="11"/>
                    <a:pt x="3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" name="Freeform 1468">
              <a:extLst>
                <a:ext uri="{FF2B5EF4-FFF2-40B4-BE49-F238E27FC236}">
                  <a16:creationId xmlns:a16="http://schemas.microsoft.com/office/drawing/2014/main" id="{77EA3FAC-9D2A-CEA3-0750-E550FFFF8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76330" y="2071078"/>
              <a:ext cx="11113" cy="61913"/>
            </a:xfrm>
            <a:custGeom>
              <a:avLst/>
              <a:gdLst>
                <a:gd name="T0" fmla="*/ 5 w 11"/>
                <a:gd name="T1" fmla="*/ 60 h 60"/>
                <a:gd name="T2" fmla="*/ 0 w 11"/>
                <a:gd name="T3" fmla="*/ 54 h 60"/>
                <a:gd name="T4" fmla="*/ 0 w 11"/>
                <a:gd name="T5" fmla="*/ 5 h 60"/>
                <a:gd name="T6" fmla="*/ 5 w 11"/>
                <a:gd name="T7" fmla="*/ 0 h 60"/>
                <a:gd name="T8" fmla="*/ 11 w 11"/>
                <a:gd name="T9" fmla="*/ 5 h 60"/>
                <a:gd name="T10" fmla="*/ 11 w 11"/>
                <a:gd name="T11" fmla="*/ 54 h 60"/>
                <a:gd name="T12" fmla="*/ 5 w 11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0">
                  <a:moveTo>
                    <a:pt x="5" y="60"/>
                  </a:moveTo>
                  <a:cubicBezTo>
                    <a:pt x="2" y="60"/>
                    <a:pt x="0" y="57"/>
                    <a:pt x="0" y="5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7"/>
                    <a:pt x="8" y="60"/>
                    <a:pt x="5" y="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" name="Freeform 1469">
              <a:extLst>
                <a:ext uri="{FF2B5EF4-FFF2-40B4-BE49-F238E27FC236}">
                  <a16:creationId xmlns:a16="http://schemas.microsoft.com/office/drawing/2014/main" id="{FCBDA97C-3357-351B-5763-7F75DE1503F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70000" y="2071068"/>
              <a:ext cx="11113" cy="61913"/>
            </a:xfrm>
            <a:custGeom>
              <a:avLst/>
              <a:gdLst>
                <a:gd name="T0" fmla="*/ 6 w 11"/>
                <a:gd name="T1" fmla="*/ 60 h 60"/>
                <a:gd name="T2" fmla="*/ 0 w 11"/>
                <a:gd name="T3" fmla="*/ 54 h 60"/>
                <a:gd name="T4" fmla="*/ 0 w 11"/>
                <a:gd name="T5" fmla="*/ 5 h 60"/>
                <a:gd name="T6" fmla="*/ 6 w 11"/>
                <a:gd name="T7" fmla="*/ 0 h 60"/>
                <a:gd name="T8" fmla="*/ 11 w 11"/>
                <a:gd name="T9" fmla="*/ 5 h 60"/>
                <a:gd name="T10" fmla="*/ 11 w 11"/>
                <a:gd name="T11" fmla="*/ 54 h 60"/>
                <a:gd name="T12" fmla="*/ 6 w 11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0">
                  <a:moveTo>
                    <a:pt x="6" y="60"/>
                  </a:moveTo>
                  <a:cubicBezTo>
                    <a:pt x="3" y="60"/>
                    <a:pt x="0" y="57"/>
                    <a:pt x="0" y="5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7"/>
                    <a:pt x="9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6" name="Shape60_20200717_142846">
            <a:extLst>
              <a:ext uri="{FF2B5EF4-FFF2-40B4-BE49-F238E27FC236}">
                <a16:creationId xmlns:a16="http://schemas.microsoft.com/office/drawing/2014/main" id="{D0441883-7011-FA65-DA63-921C58683C20}"/>
              </a:ext>
            </a:extLst>
          </p:cNvPr>
          <p:cNvGrpSpPr>
            <a:grpSpLocks noChangeAspect="1"/>
          </p:cNvGrpSpPr>
          <p:nvPr/>
        </p:nvGrpSpPr>
        <p:grpSpPr>
          <a:xfrm>
            <a:off x="1905862" y="3909172"/>
            <a:ext cx="546936" cy="450976"/>
            <a:chOff x="-3535362" y="3395047"/>
            <a:chExt cx="361950" cy="298446"/>
          </a:xfrm>
          <a:solidFill>
            <a:schemeClr val="accent1"/>
          </a:solidFill>
        </p:grpSpPr>
        <p:sp>
          <p:nvSpPr>
            <p:cNvPr id="37" name="Freeform 1609">
              <a:extLst>
                <a:ext uri="{FF2B5EF4-FFF2-40B4-BE49-F238E27FC236}">
                  <a16:creationId xmlns:a16="http://schemas.microsoft.com/office/drawing/2014/main" id="{AE0D4F3B-4123-39CE-A279-5DFC13A8637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41700" y="3450605"/>
              <a:ext cx="71438" cy="104775"/>
            </a:xfrm>
            <a:custGeom>
              <a:avLst/>
              <a:gdLst>
                <a:gd name="T0" fmla="*/ 34 w 69"/>
                <a:gd name="T1" fmla="*/ 101 h 101"/>
                <a:gd name="T2" fmla="*/ 2 w 69"/>
                <a:gd name="T3" fmla="*/ 85 h 101"/>
                <a:gd name="T4" fmla="*/ 3 w 69"/>
                <a:gd name="T5" fmla="*/ 77 h 101"/>
                <a:gd name="T6" fmla="*/ 11 w 69"/>
                <a:gd name="T7" fmla="*/ 78 h 101"/>
                <a:gd name="T8" fmla="*/ 49 w 69"/>
                <a:gd name="T9" fmla="*/ 86 h 101"/>
                <a:gd name="T10" fmla="*/ 49 w 69"/>
                <a:gd name="T11" fmla="*/ 86 h 101"/>
                <a:gd name="T12" fmla="*/ 57 w 69"/>
                <a:gd name="T13" fmla="*/ 71 h 101"/>
                <a:gd name="T14" fmla="*/ 45 w 69"/>
                <a:gd name="T15" fmla="*/ 57 h 101"/>
                <a:gd name="T16" fmla="*/ 21 w 69"/>
                <a:gd name="T17" fmla="*/ 50 h 101"/>
                <a:gd name="T18" fmla="*/ 2 w 69"/>
                <a:gd name="T19" fmla="*/ 25 h 101"/>
                <a:gd name="T20" fmla="*/ 35 w 69"/>
                <a:gd name="T21" fmla="*/ 0 h 101"/>
                <a:gd name="T22" fmla="*/ 35 w 69"/>
                <a:gd name="T23" fmla="*/ 0 h 101"/>
                <a:gd name="T24" fmla="*/ 68 w 69"/>
                <a:gd name="T25" fmla="*/ 22 h 101"/>
                <a:gd name="T26" fmla="*/ 64 w 69"/>
                <a:gd name="T27" fmla="*/ 29 h 101"/>
                <a:gd name="T28" fmla="*/ 57 w 69"/>
                <a:gd name="T29" fmla="*/ 25 h 101"/>
                <a:gd name="T30" fmla="*/ 35 w 69"/>
                <a:gd name="T31" fmla="*/ 11 h 101"/>
                <a:gd name="T32" fmla="*/ 13 w 69"/>
                <a:gd name="T33" fmla="*/ 25 h 101"/>
                <a:gd name="T34" fmla="*/ 24 w 69"/>
                <a:gd name="T35" fmla="*/ 39 h 101"/>
                <a:gd name="T36" fmla="*/ 48 w 69"/>
                <a:gd name="T37" fmla="*/ 46 h 101"/>
                <a:gd name="T38" fmla="*/ 68 w 69"/>
                <a:gd name="T39" fmla="*/ 70 h 101"/>
                <a:gd name="T40" fmla="*/ 54 w 69"/>
                <a:gd name="T41" fmla="*/ 96 h 101"/>
                <a:gd name="T42" fmla="*/ 34 w 69"/>
                <a:gd name="T43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9" h="101">
                  <a:moveTo>
                    <a:pt x="34" y="101"/>
                  </a:moveTo>
                  <a:cubicBezTo>
                    <a:pt x="23" y="101"/>
                    <a:pt x="12" y="97"/>
                    <a:pt x="2" y="85"/>
                  </a:cubicBezTo>
                  <a:cubicBezTo>
                    <a:pt x="0" y="82"/>
                    <a:pt x="1" y="79"/>
                    <a:pt x="3" y="77"/>
                  </a:cubicBezTo>
                  <a:cubicBezTo>
                    <a:pt x="6" y="75"/>
                    <a:pt x="9" y="76"/>
                    <a:pt x="11" y="78"/>
                  </a:cubicBezTo>
                  <a:cubicBezTo>
                    <a:pt x="26" y="98"/>
                    <a:pt x="48" y="87"/>
                    <a:pt x="49" y="86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50" y="86"/>
                    <a:pt x="58" y="82"/>
                    <a:pt x="57" y="71"/>
                  </a:cubicBezTo>
                  <a:cubicBezTo>
                    <a:pt x="56" y="60"/>
                    <a:pt x="45" y="57"/>
                    <a:pt x="45" y="57"/>
                  </a:cubicBezTo>
                  <a:cubicBezTo>
                    <a:pt x="45" y="57"/>
                    <a:pt x="33" y="53"/>
                    <a:pt x="21" y="50"/>
                  </a:cubicBezTo>
                  <a:cubicBezTo>
                    <a:pt x="8" y="46"/>
                    <a:pt x="1" y="37"/>
                    <a:pt x="2" y="25"/>
                  </a:cubicBezTo>
                  <a:cubicBezTo>
                    <a:pt x="2" y="19"/>
                    <a:pt x="4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56" y="0"/>
                    <a:pt x="66" y="15"/>
                    <a:pt x="68" y="22"/>
                  </a:cubicBezTo>
                  <a:cubicBezTo>
                    <a:pt x="69" y="25"/>
                    <a:pt x="67" y="28"/>
                    <a:pt x="64" y="29"/>
                  </a:cubicBezTo>
                  <a:cubicBezTo>
                    <a:pt x="61" y="30"/>
                    <a:pt x="58" y="28"/>
                    <a:pt x="57" y="25"/>
                  </a:cubicBezTo>
                  <a:cubicBezTo>
                    <a:pt x="57" y="25"/>
                    <a:pt x="53" y="11"/>
                    <a:pt x="35" y="11"/>
                  </a:cubicBezTo>
                  <a:cubicBezTo>
                    <a:pt x="25" y="11"/>
                    <a:pt x="13" y="13"/>
                    <a:pt x="13" y="25"/>
                  </a:cubicBezTo>
                  <a:cubicBezTo>
                    <a:pt x="12" y="30"/>
                    <a:pt x="14" y="36"/>
                    <a:pt x="24" y="39"/>
                  </a:cubicBezTo>
                  <a:cubicBezTo>
                    <a:pt x="36" y="43"/>
                    <a:pt x="48" y="46"/>
                    <a:pt x="48" y="46"/>
                  </a:cubicBezTo>
                  <a:cubicBezTo>
                    <a:pt x="49" y="46"/>
                    <a:pt x="66" y="52"/>
                    <a:pt x="68" y="70"/>
                  </a:cubicBezTo>
                  <a:cubicBezTo>
                    <a:pt x="69" y="86"/>
                    <a:pt x="59" y="94"/>
                    <a:pt x="54" y="96"/>
                  </a:cubicBezTo>
                  <a:cubicBezTo>
                    <a:pt x="49" y="99"/>
                    <a:pt x="42" y="101"/>
                    <a:pt x="34" y="10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" name="Freeform 1610">
              <a:extLst>
                <a:ext uri="{FF2B5EF4-FFF2-40B4-BE49-F238E27FC236}">
                  <a16:creationId xmlns:a16="http://schemas.microsoft.com/office/drawing/2014/main" id="{A5E5D34F-9513-C7C3-24AA-65001662C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09950" y="3431555"/>
              <a:ext cx="11113" cy="30163"/>
            </a:xfrm>
            <a:custGeom>
              <a:avLst/>
              <a:gdLst>
                <a:gd name="T0" fmla="*/ 5 w 11"/>
                <a:gd name="T1" fmla="*/ 30 h 30"/>
                <a:gd name="T2" fmla="*/ 0 w 11"/>
                <a:gd name="T3" fmla="*/ 24 h 30"/>
                <a:gd name="T4" fmla="*/ 0 w 11"/>
                <a:gd name="T5" fmla="*/ 5 h 30"/>
                <a:gd name="T6" fmla="*/ 5 w 11"/>
                <a:gd name="T7" fmla="*/ 0 h 30"/>
                <a:gd name="T8" fmla="*/ 11 w 11"/>
                <a:gd name="T9" fmla="*/ 5 h 30"/>
                <a:gd name="T10" fmla="*/ 11 w 11"/>
                <a:gd name="T11" fmla="*/ 24 h 30"/>
                <a:gd name="T12" fmla="*/ 5 w 11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0">
                  <a:moveTo>
                    <a:pt x="5" y="30"/>
                  </a:moveTo>
                  <a:cubicBezTo>
                    <a:pt x="2" y="30"/>
                    <a:pt x="0" y="27"/>
                    <a:pt x="0" y="2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7"/>
                    <a:pt x="8" y="30"/>
                    <a:pt x="5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" name="Freeform 1611">
              <a:extLst>
                <a:ext uri="{FF2B5EF4-FFF2-40B4-BE49-F238E27FC236}">
                  <a16:creationId xmlns:a16="http://schemas.microsoft.com/office/drawing/2014/main" id="{D6EC9677-D666-4EDB-8B93-BE22B10A756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09950" y="3545855"/>
              <a:ext cx="11113" cy="30163"/>
            </a:xfrm>
            <a:custGeom>
              <a:avLst/>
              <a:gdLst>
                <a:gd name="T0" fmla="*/ 5 w 11"/>
                <a:gd name="T1" fmla="*/ 30 h 30"/>
                <a:gd name="T2" fmla="*/ 0 w 11"/>
                <a:gd name="T3" fmla="*/ 24 h 30"/>
                <a:gd name="T4" fmla="*/ 0 w 11"/>
                <a:gd name="T5" fmla="*/ 6 h 30"/>
                <a:gd name="T6" fmla="*/ 5 w 11"/>
                <a:gd name="T7" fmla="*/ 0 h 30"/>
                <a:gd name="T8" fmla="*/ 11 w 11"/>
                <a:gd name="T9" fmla="*/ 6 h 30"/>
                <a:gd name="T10" fmla="*/ 11 w 11"/>
                <a:gd name="T11" fmla="*/ 24 h 30"/>
                <a:gd name="T12" fmla="*/ 5 w 11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0">
                  <a:moveTo>
                    <a:pt x="5" y="30"/>
                  </a:moveTo>
                  <a:cubicBezTo>
                    <a:pt x="2" y="30"/>
                    <a:pt x="0" y="27"/>
                    <a:pt x="0" y="2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7"/>
                    <a:pt x="8" y="30"/>
                    <a:pt x="5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" name="Freeform 1613">
              <a:extLst>
                <a:ext uri="{FF2B5EF4-FFF2-40B4-BE49-F238E27FC236}">
                  <a16:creationId xmlns:a16="http://schemas.microsoft.com/office/drawing/2014/main" id="{AE4E888B-657C-F158-C3B7-5FFCEE5C5A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35362" y="3395047"/>
              <a:ext cx="260350" cy="254000"/>
            </a:xfrm>
            <a:custGeom>
              <a:avLst/>
              <a:gdLst>
                <a:gd name="T0" fmla="*/ 40 w 251"/>
                <a:gd name="T1" fmla="*/ 244 h 244"/>
                <a:gd name="T2" fmla="*/ 35 w 251"/>
                <a:gd name="T3" fmla="*/ 243 h 244"/>
                <a:gd name="T4" fmla="*/ 27 w 251"/>
                <a:gd name="T5" fmla="*/ 231 h 244"/>
                <a:gd name="T6" fmla="*/ 27 w 251"/>
                <a:gd name="T7" fmla="*/ 207 h 244"/>
                <a:gd name="T8" fmla="*/ 0 w 251"/>
                <a:gd name="T9" fmla="*/ 175 h 244"/>
                <a:gd name="T10" fmla="*/ 0 w 251"/>
                <a:gd name="T11" fmla="*/ 32 h 244"/>
                <a:gd name="T12" fmla="*/ 33 w 251"/>
                <a:gd name="T13" fmla="*/ 0 h 244"/>
                <a:gd name="T14" fmla="*/ 219 w 251"/>
                <a:gd name="T15" fmla="*/ 0 h 244"/>
                <a:gd name="T16" fmla="*/ 251 w 251"/>
                <a:gd name="T17" fmla="*/ 32 h 244"/>
                <a:gd name="T18" fmla="*/ 251 w 251"/>
                <a:gd name="T19" fmla="*/ 175 h 244"/>
                <a:gd name="T20" fmla="*/ 219 w 251"/>
                <a:gd name="T21" fmla="*/ 208 h 244"/>
                <a:gd name="T22" fmla="*/ 83 w 251"/>
                <a:gd name="T23" fmla="*/ 208 h 244"/>
                <a:gd name="T24" fmla="*/ 49 w 251"/>
                <a:gd name="T25" fmla="*/ 240 h 244"/>
                <a:gd name="T26" fmla="*/ 40 w 251"/>
                <a:gd name="T27" fmla="*/ 244 h 244"/>
                <a:gd name="T28" fmla="*/ 33 w 251"/>
                <a:gd name="T29" fmla="*/ 11 h 244"/>
                <a:gd name="T30" fmla="*/ 11 w 251"/>
                <a:gd name="T31" fmla="*/ 32 h 244"/>
                <a:gd name="T32" fmla="*/ 11 w 251"/>
                <a:gd name="T33" fmla="*/ 175 h 244"/>
                <a:gd name="T34" fmla="*/ 33 w 251"/>
                <a:gd name="T35" fmla="*/ 197 h 244"/>
                <a:gd name="T36" fmla="*/ 38 w 251"/>
                <a:gd name="T37" fmla="*/ 202 h 244"/>
                <a:gd name="T38" fmla="*/ 38 w 251"/>
                <a:gd name="T39" fmla="*/ 231 h 244"/>
                <a:gd name="T40" fmla="*/ 39 w 251"/>
                <a:gd name="T41" fmla="*/ 233 h 244"/>
                <a:gd name="T42" fmla="*/ 41 w 251"/>
                <a:gd name="T43" fmla="*/ 232 h 244"/>
                <a:gd name="T44" fmla="*/ 77 w 251"/>
                <a:gd name="T45" fmla="*/ 198 h 244"/>
                <a:gd name="T46" fmla="*/ 81 w 251"/>
                <a:gd name="T47" fmla="*/ 197 h 244"/>
                <a:gd name="T48" fmla="*/ 219 w 251"/>
                <a:gd name="T49" fmla="*/ 197 h 244"/>
                <a:gd name="T50" fmla="*/ 240 w 251"/>
                <a:gd name="T51" fmla="*/ 175 h 244"/>
                <a:gd name="T52" fmla="*/ 240 w 251"/>
                <a:gd name="T53" fmla="*/ 32 h 244"/>
                <a:gd name="T54" fmla="*/ 219 w 251"/>
                <a:gd name="T55" fmla="*/ 11 h 244"/>
                <a:gd name="T56" fmla="*/ 33 w 251"/>
                <a:gd name="T57" fmla="*/ 11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1" h="244">
                  <a:moveTo>
                    <a:pt x="40" y="244"/>
                  </a:moveTo>
                  <a:cubicBezTo>
                    <a:pt x="38" y="244"/>
                    <a:pt x="37" y="244"/>
                    <a:pt x="35" y="243"/>
                  </a:cubicBezTo>
                  <a:cubicBezTo>
                    <a:pt x="30" y="241"/>
                    <a:pt x="27" y="236"/>
                    <a:pt x="27" y="231"/>
                  </a:cubicBezTo>
                  <a:cubicBezTo>
                    <a:pt x="27" y="207"/>
                    <a:pt x="27" y="207"/>
                    <a:pt x="27" y="207"/>
                  </a:cubicBezTo>
                  <a:cubicBezTo>
                    <a:pt x="12" y="204"/>
                    <a:pt x="0" y="191"/>
                    <a:pt x="0" y="175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219" y="0"/>
                    <a:pt x="219" y="0"/>
                    <a:pt x="219" y="0"/>
                  </a:cubicBezTo>
                  <a:cubicBezTo>
                    <a:pt x="236" y="0"/>
                    <a:pt x="251" y="15"/>
                    <a:pt x="251" y="32"/>
                  </a:cubicBezTo>
                  <a:cubicBezTo>
                    <a:pt x="251" y="175"/>
                    <a:pt x="251" y="175"/>
                    <a:pt x="251" y="175"/>
                  </a:cubicBezTo>
                  <a:cubicBezTo>
                    <a:pt x="251" y="193"/>
                    <a:pt x="236" y="208"/>
                    <a:pt x="219" y="208"/>
                  </a:cubicBezTo>
                  <a:cubicBezTo>
                    <a:pt x="83" y="208"/>
                    <a:pt x="83" y="208"/>
                    <a:pt x="83" y="208"/>
                  </a:cubicBezTo>
                  <a:cubicBezTo>
                    <a:pt x="49" y="240"/>
                    <a:pt x="49" y="240"/>
                    <a:pt x="49" y="240"/>
                  </a:cubicBezTo>
                  <a:cubicBezTo>
                    <a:pt x="47" y="243"/>
                    <a:pt x="43" y="244"/>
                    <a:pt x="40" y="244"/>
                  </a:cubicBezTo>
                  <a:close/>
                  <a:moveTo>
                    <a:pt x="33" y="11"/>
                  </a:moveTo>
                  <a:cubicBezTo>
                    <a:pt x="21" y="11"/>
                    <a:pt x="11" y="21"/>
                    <a:pt x="11" y="32"/>
                  </a:cubicBezTo>
                  <a:cubicBezTo>
                    <a:pt x="11" y="175"/>
                    <a:pt x="11" y="175"/>
                    <a:pt x="11" y="175"/>
                  </a:cubicBezTo>
                  <a:cubicBezTo>
                    <a:pt x="11" y="187"/>
                    <a:pt x="21" y="197"/>
                    <a:pt x="33" y="197"/>
                  </a:cubicBezTo>
                  <a:cubicBezTo>
                    <a:pt x="36" y="197"/>
                    <a:pt x="38" y="199"/>
                    <a:pt x="38" y="202"/>
                  </a:cubicBezTo>
                  <a:cubicBezTo>
                    <a:pt x="38" y="231"/>
                    <a:pt x="38" y="231"/>
                    <a:pt x="38" y="231"/>
                  </a:cubicBezTo>
                  <a:cubicBezTo>
                    <a:pt x="38" y="232"/>
                    <a:pt x="39" y="233"/>
                    <a:pt x="39" y="233"/>
                  </a:cubicBezTo>
                  <a:cubicBezTo>
                    <a:pt x="40" y="233"/>
                    <a:pt x="41" y="233"/>
                    <a:pt x="41" y="232"/>
                  </a:cubicBezTo>
                  <a:cubicBezTo>
                    <a:pt x="77" y="198"/>
                    <a:pt x="77" y="198"/>
                    <a:pt x="77" y="198"/>
                  </a:cubicBezTo>
                  <a:cubicBezTo>
                    <a:pt x="78" y="197"/>
                    <a:pt x="79" y="197"/>
                    <a:pt x="81" y="197"/>
                  </a:cubicBezTo>
                  <a:cubicBezTo>
                    <a:pt x="219" y="197"/>
                    <a:pt x="219" y="197"/>
                    <a:pt x="219" y="197"/>
                  </a:cubicBezTo>
                  <a:cubicBezTo>
                    <a:pt x="230" y="197"/>
                    <a:pt x="240" y="187"/>
                    <a:pt x="240" y="175"/>
                  </a:cubicBezTo>
                  <a:cubicBezTo>
                    <a:pt x="240" y="32"/>
                    <a:pt x="240" y="32"/>
                    <a:pt x="240" y="32"/>
                  </a:cubicBezTo>
                  <a:cubicBezTo>
                    <a:pt x="240" y="21"/>
                    <a:pt x="230" y="11"/>
                    <a:pt x="219" y="11"/>
                  </a:cubicBezTo>
                  <a:lnTo>
                    <a:pt x="33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" name="Freeform 1614">
              <a:extLst>
                <a:ext uri="{FF2B5EF4-FFF2-40B4-BE49-F238E27FC236}">
                  <a16:creationId xmlns:a16="http://schemas.microsoft.com/office/drawing/2014/main" id="{1B1857A7-8CEE-AC0D-34E8-586795294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2175" y="3441080"/>
              <a:ext cx="258763" cy="252413"/>
            </a:xfrm>
            <a:custGeom>
              <a:avLst/>
              <a:gdLst>
                <a:gd name="T0" fmla="*/ 211 w 250"/>
                <a:gd name="T1" fmla="*/ 244 h 244"/>
                <a:gd name="T2" fmla="*/ 202 w 250"/>
                <a:gd name="T3" fmla="*/ 241 h 244"/>
                <a:gd name="T4" fmla="*/ 168 w 250"/>
                <a:gd name="T5" fmla="*/ 208 h 244"/>
                <a:gd name="T6" fmla="*/ 32 w 250"/>
                <a:gd name="T7" fmla="*/ 208 h 244"/>
                <a:gd name="T8" fmla="*/ 0 w 250"/>
                <a:gd name="T9" fmla="*/ 176 h 244"/>
                <a:gd name="T10" fmla="*/ 0 w 250"/>
                <a:gd name="T11" fmla="*/ 160 h 244"/>
                <a:gd name="T12" fmla="*/ 5 w 250"/>
                <a:gd name="T13" fmla="*/ 155 h 244"/>
                <a:gd name="T14" fmla="*/ 11 w 250"/>
                <a:gd name="T15" fmla="*/ 160 h 244"/>
                <a:gd name="T16" fmla="*/ 11 w 250"/>
                <a:gd name="T17" fmla="*/ 176 h 244"/>
                <a:gd name="T18" fmla="*/ 32 w 250"/>
                <a:gd name="T19" fmla="*/ 197 h 244"/>
                <a:gd name="T20" fmla="*/ 170 w 250"/>
                <a:gd name="T21" fmla="*/ 197 h 244"/>
                <a:gd name="T22" fmla="*/ 174 w 250"/>
                <a:gd name="T23" fmla="*/ 198 h 244"/>
                <a:gd name="T24" fmla="*/ 209 w 250"/>
                <a:gd name="T25" fmla="*/ 233 h 244"/>
                <a:gd name="T26" fmla="*/ 211 w 250"/>
                <a:gd name="T27" fmla="*/ 233 h 244"/>
                <a:gd name="T28" fmla="*/ 213 w 250"/>
                <a:gd name="T29" fmla="*/ 231 h 244"/>
                <a:gd name="T30" fmla="*/ 213 w 250"/>
                <a:gd name="T31" fmla="*/ 202 h 244"/>
                <a:gd name="T32" fmla="*/ 218 w 250"/>
                <a:gd name="T33" fmla="*/ 197 h 244"/>
                <a:gd name="T34" fmla="*/ 239 w 250"/>
                <a:gd name="T35" fmla="*/ 176 h 244"/>
                <a:gd name="T36" fmla="*/ 239 w 250"/>
                <a:gd name="T37" fmla="*/ 33 h 244"/>
                <a:gd name="T38" fmla="*/ 218 w 250"/>
                <a:gd name="T39" fmla="*/ 11 h 244"/>
                <a:gd name="T40" fmla="*/ 150 w 250"/>
                <a:gd name="T41" fmla="*/ 11 h 244"/>
                <a:gd name="T42" fmla="*/ 144 w 250"/>
                <a:gd name="T43" fmla="*/ 6 h 244"/>
                <a:gd name="T44" fmla="*/ 150 w 250"/>
                <a:gd name="T45" fmla="*/ 0 h 244"/>
                <a:gd name="T46" fmla="*/ 218 w 250"/>
                <a:gd name="T47" fmla="*/ 0 h 244"/>
                <a:gd name="T48" fmla="*/ 250 w 250"/>
                <a:gd name="T49" fmla="*/ 33 h 244"/>
                <a:gd name="T50" fmla="*/ 250 w 250"/>
                <a:gd name="T51" fmla="*/ 176 h 244"/>
                <a:gd name="T52" fmla="*/ 224 w 250"/>
                <a:gd name="T53" fmla="*/ 207 h 244"/>
                <a:gd name="T54" fmla="*/ 224 w 250"/>
                <a:gd name="T55" fmla="*/ 231 h 244"/>
                <a:gd name="T56" fmla="*/ 216 w 250"/>
                <a:gd name="T57" fmla="*/ 243 h 244"/>
                <a:gd name="T58" fmla="*/ 211 w 250"/>
                <a:gd name="T59" fmla="*/ 24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0" h="244">
                  <a:moveTo>
                    <a:pt x="211" y="244"/>
                  </a:moveTo>
                  <a:cubicBezTo>
                    <a:pt x="207" y="244"/>
                    <a:pt x="204" y="243"/>
                    <a:pt x="202" y="241"/>
                  </a:cubicBezTo>
                  <a:cubicBezTo>
                    <a:pt x="168" y="208"/>
                    <a:pt x="168" y="208"/>
                    <a:pt x="168" y="208"/>
                  </a:cubicBezTo>
                  <a:cubicBezTo>
                    <a:pt x="32" y="208"/>
                    <a:pt x="32" y="208"/>
                    <a:pt x="32" y="208"/>
                  </a:cubicBezTo>
                  <a:cubicBezTo>
                    <a:pt x="14" y="208"/>
                    <a:pt x="0" y="193"/>
                    <a:pt x="0" y="176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57"/>
                    <a:pt x="2" y="155"/>
                    <a:pt x="5" y="155"/>
                  </a:cubicBezTo>
                  <a:cubicBezTo>
                    <a:pt x="8" y="155"/>
                    <a:pt x="11" y="157"/>
                    <a:pt x="11" y="160"/>
                  </a:cubicBezTo>
                  <a:cubicBezTo>
                    <a:pt x="11" y="176"/>
                    <a:pt x="11" y="176"/>
                    <a:pt x="11" y="176"/>
                  </a:cubicBezTo>
                  <a:cubicBezTo>
                    <a:pt x="11" y="187"/>
                    <a:pt x="20" y="197"/>
                    <a:pt x="32" y="197"/>
                  </a:cubicBezTo>
                  <a:cubicBezTo>
                    <a:pt x="170" y="197"/>
                    <a:pt x="170" y="197"/>
                    <a:pt x="170" y="197"/>
                  </a:cubicBezTo>
                  <a:cubicBezTo>
                    <a:pt x="171" y="197"/>
                    <a:pt x="173" y="197"/>
                    <a:pt x="174" y="198"/>
                  </a:cubicBezTo>
                  <a:cubicBezTo>
                    <a:pt x="209" y="233"/>
                    <a:pt x="209" y="233"/>
                    <a:pt x="209" y="233"/>
                  </a:cubicBezTo>
                  <a:cubicBezTo>
                    <a:pt x="210" y="233"/>
                    <a:pt x="211" y="233"/>
                    <a:pt x="211" y="233"/>
                  </a:cubicBezTo>
                  <a:cubicBezTo>
                    <a:pt x="212" y="233"/>
                    <a:pt x="213" y="232"/>
                    <a:pt x="213" y="231"/>
                  </a:cubicBezTo>
                  <a:cubicBezTo>
                    <a:pt x="213" y="202"/>
                    <a:pt x="213" y="202"/>
                    <a:pt x="213" y="202"/>
                  </a:cubicBezTo>
                  <a:cubicBezTo>
                    <a:pt x="213" y="199"/>
                    <a:pt x="215" y="197"/>
                    <a:pt x="218" y="197"/>
                  </a:cubicBezTo>
                  <a:cubicBezTo>
                    <a:pt x="230" y="197"/>
                    <a:pt x="239" y="187"/>
                    <a:pt x="239" y="176"/>
                  </a:cubicBezTo>
                  <a:cubicBezTo>
                    <a:pt x="239" y="33"/>
                    <a:pt x="239" y="33"/>
                    <a:pt x="239" y="33"/>
                  </a:cubicBezTo>
                  <a:cubicBezTo>
                    <a:pt x="239" y="21"/>
                    <a:pt x="230" y="11"/>
                    <a:pt x="218" y="11"/>
                  </a:cubicBezTo>
                  <a:cubicBezTo>
                    <a:pt x="150" y="11"/>
                    <a:pt x="150" y="11"/>
                    <a:pt x="150" y="11"/>
                  </a:cubicBezTo>
                  <a:cubicBezTo>
                    <a:pt x="147" y="11"/>
                    <a:pt x="144" y="9"/>
                    <a:pt x="144" y="6"/>
                  </a:cubicBezTo>
                  <a:cubicBezTo>
                    <a:pt x="144" y="3"/>
                    <a:pt x="147" y="0"/>
                    <a:pt x="150" y="0"/>
                  </a:cubicBezTo>
                  <a:cubicBezTo>
                    <a:pt x="218" y="0"/>
                    <a:pt x="218" y="0"/>
                    <a:pt x="218" y="0"/>
                  </a:cubicBezTo>
                  <a:cubicBezTo>
                    <a:pt x="236" y="0"/>
                    <a:pt x="250" y="15"/>
                    <a:pt x="250" y="33"/>
                  </a:cubicBezTo>
                  <a:cubicBezTo>
                    <a:pt x="250" y="176"/>
                    <a:pt x="250" y="176"/>
                    <a:pt x="250" y="176"/>
                  </a:cubicBezTo>
                  <a:cubicBezTo>
                    <a:pt x="250" y="191"/>
                    <a:pt x="239" y="205"/>
                    <a:pt x="224" y="207"/>
                  </a:cubicBezTo>
                  <a:cubicBezTo>
                    <a:pt x="224" y="231"/>
                    <a:pt x="224" y="231"/>
                    <a:pt x="224" y="231"/>
                  </a:cubicBezTo>
                  <a:cubicBezTo>
                    <a:pt x="224" y="237"/>
                    <a:pt x="221" y="241"/>
                    <a:pt x="216" y="243"/>
                  </a:cubicBezTo>
                  <a:cubicBezTo>
                    <a:pt x="214" y="244"/>
                    <a:pt x="212" y="244"/>
                    <a:pt x="211" y="24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2" name="Shape61_20200717_142846">
            <a:extLst>
              <a:ext uri="{FF2B5EF4-FFF2-40B4-BE49-F238E27FC236}">
                <a16:creationId xmlns:a16="http://schemas.microsoft.com/office/drawing/2014/main" id="{5E37F198-47AB-0BF5-08B3-225F3E596737}"/>
              </a:ext>
            </a:extLst>
          </p:cNvPr>
          <p:cNvGrpSpPr>
            <a:grpSpLocks noChangeAspect="1"/>
          </p:cNvGrpSpPr>
          <p:nvPr/>
        </p:nvGrpSpPr>
        <p:grpSpPr>
          <a:xfrm>
            <a:off x="1965834" y="5148765"/>
            <a:ext cx="426994" cy="582911"/>
            <a:chOff x="173037" y="2130425"/>
            <a:chExt cx="282575" cy="385756"/>
          </a:xfrm>
          <a:solidFill>
            <a:schemeClr val="accent1"/>
          </a:solidFill>
        </p:grpSpPr>
        <p:sp>
          <p:nvSpPr>
            <p:cNvPr id="43" name="Freeform 408">
              <a:extLst>
                <a:ext uri="{FF2B5EF4-FFF2-40B4-BE49-F238E27FC236}">
                  <a16:creationId xmlns:a16="http://schemas.microsoft.com/office/drawing/2014/main" id="{DC1B7DCA-7365-C8FB-28F7-DC2A4355B0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225" y="2325682"/>
              <a:ext cx="74613" cy="107949"/>
            </a:xfrm>
            <a:custGeom>
              <a:avLst/>
              <a:gdLst>
                <a:gd name="T0" fmla="*/ 16 w 33"/>
                <a:gd name="T1" fmla="*/ 48 h 48"/>
                <a:gd name="T2" fmla="*/ 1 w 33"/>
                <a:gd name="T3" fmla="*/ 41 h 48"/>
                <a:gd name="T4" fmla="*/ 1 w 33"/>
                <a:gd name="T5" fmla="*/ 37 h 48"/>
                <a:gd name="T6" fmla="*/ 5 w 33"/>
                <a:gd name="T7" fmla="*/ 38 h 48"/>
                <a:gd name="T8" fmla="*/ 23 w 33"/>
                <a:gd name="T9" fmla="*/ 42 h 48"/>
                <a:gd name="T10" fmla="*/ 23 w 33"/>
                <a:gd name="T11" fmla="*/ 42 h 48"/>
                <a:gd name="T12" fmla="*/ 27 w 33"/>
                <a:gd name="T13" fmla="*/ 34 h 48"/>
                <a:gd name="T14" fmla="*/ 21 w 33"/>
                <a:gd name="T15" fmla="*/ 27 h 48"/>
                <a:gd name="T16" fmla="*/ 10 w 33"/>
                <a:gd name="T17" fmla="*/ 24 h 48"/>
                <a:gd name="T18" fmla="*/ 1 w 33"/>
                <a:gd name="T19" fmla="*/ 12 h 48"/>
                <a:gd name="T20" fmla="*/ 4 w 33"/>
                <a:gd name="T21" fmla="*/ 4 h 48"/>
                <a:gd name="T22" fmla="*/ 17 w 33"/>
                <a:gd name="T23" fmla="*/ 0 h 48"/>
                <a:gd name="T24" fmla="*/ 32 w 33"/>
                <a:gd name="T25" fmla="*/ 11 h 48"/>
                <a:gd name="T26" fmla="*/ 31 w 33"/>
                <a:gd name="T27" fmla="*/ 14 h 48"/>
                <a:gd name="T28" fmla="*/ 27 w 33"/>
                <a:gd name="T29" fmla="*/ 12 h 48"/>
                <a:gd name="T30" fmla="*/ 17 w 33"/>
                <a:gd name="T31" fmla="*/ 5 h 48"/>
                <a:gd name="T32" fmla="*/ 8 w 33"/>
                <a:gd name="T33" fmla="*/ 7 h 48"/>
                <a:gd name="T34" fmla="*/ 6 w 33"/>
                <a:gd name="T35" fmla="*/ 12 h 48"/>
                <a:gd name="T36" fmla="*/ 11 w 33"/>
                <a:gd name="T37" fmla="*/ 19 h 48"/>
                <a:gd name="T38" fmla="*/ 23 w 33"/>
                <a:gd name="T39" fmla="*/ 22 h 48"/>
                <a:gd name="T40" fmla="*/ 32 w 33"/>
                <a:gd name="T41" fmla="*/ 34 h 48"/>
                <a:gd name="T42" fmla="*/ 25 w 33"/>
                <a:gd name="T43" fmla="*/ 46 h 48"/>
                <a:gd name="T44" fmla="*/ 16 w 33"/>
                <a:gd name="T4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" h="48">
                  <a:moveTo>
                    <a:pt x="16" y="48"/>
                  </a:moveTo>
                  <a:cubicBezTo>
                    <a:pt x="11" y="48"/>
                    <a:pt x="5" y="46"/>
                    <a:pt x="1" y="41"/>
                  </a:cubicBezTo>
                  <a:cubicBezTo>
                    <a:pt x="0" y="40"/>
                    <a:pt x="0" y="38"/>
                    <a:pt x="1" y="37"/>
                  </a:cubicBezTo>
                  <a:cubicBezTo>
                    <a:pt x="2" y="36"/>
                    <a:pt x="4" y="37"/>
                    <a:pt x="5" y="38"/>
                  </a:cubicBezTo>
                  <a:cubicBezTo>
                    <a:pt x="12" y="47"/>
                    <a:pt x="23" y="42"/>
                    <a:pt x="23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4" y="41"/>
                    <a:pt x="28" y="40"/>
                    <a:pt x="27" y="34"/>
                  </a:cubicBezTo>
                  <a:cubicBezTo>
                    <a:pt x="27" y="29"/>
                    <a:pt x="22" y="27"/>
                    <a:pt x="21" y="27"/>
                  </a:cubicBezTo>
                  <a:cubicBezTo>
                    <a:pt x="21" y="27"/>
                    <a:pt x="16" y="25"/>
                    <a:pt x="10" y="24"/>
                  </a:cubicBezTo>
                  <a:cubicBezTo>
                    <a:pt x="4" y="22"/>
                    <a:pt x="1" y="18"/>
                    <a:pt x="1" y="12"/>
                  </a:cubicBezTo>
                  <a:cubicBezTo>
                    <a:pt x="1" y="9"/>
                    <a:pt x="2" y="6"/>
                    <a:pt x="4" y="4"/>
                  </a:cubicBezTo>
                  <a:cubicBezTo>
                    <a:pt x="7" y="1"/>
                    <a:pt x="11" y="0"/>
                    <a:pt x="17" y="0"/>
                  </a:cubicBezTo>
                  <a:cubicBezTo>
                    <a:pt x="27" y="0"/>
                    <a:pt x="31" y="7"/>
                    <a:pt x="32" y="11"/>
                  </a:cubicBezTo>
                  <a:cubicBezTo>
                    <a:pt x="33" y="12"/>
                    <a:pt x="32" y="13"/>
                    <a:pt x="31" y="14"/>
                  </a:cubicBezTo>
                  <a:cubicBezTo>
                    <a:pt x="29" y="14"/>
                    <a:pt x="28" y="13"/>
                    <a:pt x="27" y="12"/>
                  </a:cubicBezTo>
                  <a:cubicBezTo>
                    <a:pt x="27" y="12"/>
                    <a:pt x="25" y="5"/>
                    <a:pt x="17" y="5"/>
                  </a:cubicBezTo>
                  <a:cubicBezTo>
                    <a:pt x="13" y="5"/>
                    <a:pt x="9" y="6"/>
                    <a:pt x="8" y="7"/>
                  </a:cubicBezTo>
                  <a:cubicBezTo>
                    <a:pt x="6" y="8"/>
                    <a:pt x="6" y="10"/>
                    <a:pt x="6" y="12"/>
                  </a:cubicBezTo>
                  <a:cubicBezTo>
                    <a:pt x="6" y="16"/>
                    <a:pt x="7" y="18"/>
                    <a:pt x="11" y="19"/>
                  </a:cubicBezTo>
                  <a:cubicBezTo>
                    <a:pt x="17" y="21"/>
                    <a:pt x="23" y="22"/>
                    <a:pt x="23" y="22"/>
                  </a:cubicBezTo>
                  <a:cubicBezTo>
                    <a:pt x="23" y="22"/>
                    <a:pt x="31" y="25"/>
                    <a:pt x="32" y="34"/>
                  </a:cubicBezTo>
                  <a:cubicBezTo>
                    <a:pt x="33" y="41"/>
                    <a:pt x="28" y="45"/>
                    <a:pt x="25" y="46"/>
                  </a:cubicBezTo>
                  <a:cubicBezTo>
                    <a:pt x="23" y="47"/>
                    <a:pt x="20" y="48"/>
                    <a:pt x="16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" name="Freeform 409">
              <a:extLst>
                <a:ext uri="{FF2B5EF4-FFF2-40B4-BE49-F238E27FC236}">
                  <a16:creationId xmlns:a16="http://schemas.microsoft.com/office/drawing/2014/main" id="{834E427D-A957-B11E-77A7-F088D6C84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975" y="2305044"/>
              <a:ext cx="11113" cy="31750"/>
            </a:xfrm>
            <a:custGeom>
              <a:avLst/>
              <a:gdLst>
                <a:gd name="T0" fmla="*/ 3 w 5"/>
                <a:gd name="T1" fmla="*/ 14 h 14"/>
                <a:gd name="T2" fmla="*/ 0 w 5"/>
                <a:gd name="T3" fmla="*/ 12 h 14"/>
                <a:gd name="T4" fmla="*/ 0 w 5"/>
                <a:gd name="T5" fmla="*/ 2 h 14"/>
                <a:gd name="T6" fmla="*/ 3 w 5"/>
                <a:gd name="T7" fmla="*/ 0 h 14"/>
                <a:gd name="T8" fmla="*/ 5 w 5"/>
                <a:gd name="T9" fmla="*/ 2 h 14"/>
                <a:gd name="T10" fmla="*/ 5 w 5"/>
                <a:gd name="T11" fmla="*/ 12 h 14"/>
                <a:gd name="T12" fmla="*/ 3 w 5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4">
                  <a:moveTo>
                    <a:pt x="3" y="14"/>
                  </a:moveTo>
                  <a:cubicBezTo>
                    <a:pt x="1" y="14"/>
                    <a:pt x="0" y="13"/>
                    <a:pt x="0" y="1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3"/>
                    <a:pt x="4" y="14"/>
                    <a:pt x="3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" name="Freeform 410">
              <a:extLst>
                <a:ext uri="{FF2B5EF4-FFF2-40B4-BE49-F238E27FC236}">
                  <a16:creationId xmlns:a16="http://schemas.microsoft.com/office/drawing/2014/main" id="{DB85106D-37A7-38D3-15D7-8490BA970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975" y="2425693"/>
              <a:ext cx="11113" cy="31750"/>
            </a:xfrm>
            <a:custGeom>
              <a:avLst/>
              <a:gdLst>
                <a:gd name="T0" fmla="*/ 3 w 5"/>
                <a:gd name="T1" fmla="*/ 14 h 14"/>
                <a:gd name="T2" fmla="*/ 0 w 5"/>
                <a:gd name="T3" fmla="*/ 11 h 14"/>
                <a:gd name="T4" fmla="*/ 0 w 5"/>
                <a:gd name="T5" fmla="*/ 2 h 14"/>
                <a:gd name="T6" fmla="*/ 3 w 5"/>
                <a:gd name="T7" fmla="*/ 0 h 14"/>
                <a:gd name="T8" fmla="*/ 5 w 5"/>
                <a:gd name="T9" fmla="*/ 2 h 14"/>
                <a:gd name="T10" fmla="*/ 5 w 5"/>
                <a:gd name="T11" fmla="*/ 11 h 14"/>
                <a:gd name="T12" fmla="*/ 3 w 5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4">
                  <a:moveTo>
                    <a:pt x="3" y="14"/>
                  </a:moveTo>
                  <a:cubicBezTo>
                    <a:pt x="1" y="14"/>
                    <a:pt x="0" y="13"/>
                    <a:pt x="0" y="1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4" y="14"/>
                    <a:pt x="3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6" name="Freeform 411">
              <a:extLst>
                <a:ext uri="{FF2B5EF4-FFF2-40B4-BE49-F238E27FC236}">
                  <a16:creationId xmlns:a16="http://schemas.microsoft.com/office/drawing/2014/main" id="{C90DAAF4-7DD7-1EB7-99AC-B702534A9B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37" y="2244719"/>
              <a:ext cx="282575" cy="271462"/>
            </a:xfrm>
            <a:custGeom>
              <a:avLst/>
              <a:gdLst>
                <a:gd name="T0" fmla="*/ 62 w 125"/>
                <a:gd name="T1" fmla="*/ 120 h 120"/>
                <a:gd name="T2" fmla="*/ 0 w 125"/>
                <a:gd name="T3" fmla="*/ 84 h 120"/>
                <a:gd name="T4" fmla="*/ 42 w 125"/>
                <a:gd name="T5" fmla="*/ 0 h 120"/>
                <a:gd name="T6" fmla="*/ 44 w 125"/>
                <a:gd name="T7" fmla="*/ 0 h 120"/>
                <a:gd name="T8" fmla="*/ 81 w 125"/>
                <a:gd name="T9" fmla="*/ 0 h 120"/>
                <a:gd name="T10" fmla="*/ 82 w 125"/>
                <a:gd name="T11" fmla="*/ 0 h 120"/>
                <a:gd name="T12" fmla="*/ 125 w 125"/>
                <a:gd name="T13" fmla="*/ 84 h 120"/>
                <a:gd name="T14" fmla="*/ 62 w 125"/>
                <a:gd name="T15" fmla="*/ 120 h 120"/>
                <a:gd name="T16" fmla="*/ 44 w 125"/>
                <a:gd name="T17" fmla="*/ 5 h 120"/>
                <a:gd name="T18" fmla="*/ 5 w 125"/>
                <a:gd name="T19" fmla="*/ 84 h 120"/>
                <a:gd name="T20" fmla="*/ 62 w 125"/>
                <a:gd name="T21" fmla="*/ 115 h 120"/>
                <a:gd name="T22" fmla="*/ 120 w 125"/>
                <a:gd name="T23" fmla="*/ 84 h 120"/>
                <a:gd name="T24" fmla="*/ 80 w 125"/>
                <a:gd name="T25" fmla="*/ 5 h 120"/>
                <a:gd name="T26" fmla="*/ 44 w 125"/>
                <a:gd name="T27" fmla="*/ 5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5" h="120">
                  <a:moveTo>
                    <a:pt x="62" y="120"/>
                  </a:moveTo>
                  <a:cubicBezTo>
                    <a:pt x="30" y="120"/>
                    <a:pt x="0" y="120"/>
                    <a:pt x="0" y="84"/>
                  </a:cubicBezTo>
                  <a:cubicBezTo>
                    <a:pt x="0" y="57"/>
                    <a:pt x="17" y="16"/>
                    <a:pt x="42" y="0"/>
                  </a:cubicBezTo>
                  <a:cubicBezTo>
                    <a:pt x="43" y="0"/>
                    <a:pt x="43" y="0"/>
                    <a:pt x="44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108" y="16"/>
                    <a:pt x="125" y="57"/>
                    <a:pt x="125" y="84"/>
                  </a:cubicBezTo>
                  <a:cubicBezTo>
                    <a:pt x="125" y="120"/>
                    <a:pt x="95" y="120"/>
                    <a:pt x="62" y="120"/>
                  </a:cubicBezTo>
                  <a:close/>
                  <a:moveTo>
                    <a:pt x="44" y="5"/>
                  </a:moveTo>
                  <a:cubicBezTo>
                    <a:pt x="21" y="19"/>
                    <a:pt x="5" y="58"/>
                    <a:pt x="5" y="84"/>
                  </a:cubicBezTo>
                  <a:cubicBezTo>
                    <a:pt x="5" y="113"/>
                    <a:pt x="27" y="115"/>
                    <a:pt x="62" y="115"/>
                  </a:cubicBezTo>
                  <a:cubicBezTo>
                    <a:pt x="98" y="115"/>
                    <a:pt x="120" y="113"/>
                    <a:pt x="120" y="84"/>
                  </a:cubicBezTo>
                  <a:cubicBezTo>
                    <a:pt x="120" y="58"/>
                    <a:pt x="103" y="19"/>
                    <a:pt x="80" y="5"/>
                  </a:cubicBezTo>
                  <a:lnTo>
                    <a:pt x="44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7" name="Freeform 412">
              <a:extLst>
                <a:ext uri="{FF2B5EF4-FFF2-40B4-BE49-F238E27FC236}">
                  <a16:creationId xmlns:a16="http://schemas.microsoft.com/office/drawing/2014/main" id="{6792E54E-106C-84CC-7591-F29CBF2F71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650" y="2209798"/>
              <a:ext cx="133350" cy="46038"/>
            </a:xfrm>
            <a:custGeom>
              <a:avLst/>
              <a:gdLst>
                <a:gd name="T0" fmla="*/ 51 w 59"/>
                <a:gd name="T1" fmla="*/ 20 h 20"/>
                <a:gd name="T2" fmla="*/ 8 w 59"/>
                <a:gd name="T3" fmla="*/ 20 h 20"/>
                <a:gd name="T4" fmla="*/ 0 w 59"/>
                <a:gd name="T5" fmla="*/ 12 h 20"/>
                <a:gd name="T6" fmla="*/ 0 w 59"/>
                <a:gd name="T7" fmla="*/ 8 h 20"/>
                <a:gd name="T8" fmla="*/ 8 w 59"/>
                <a:gd name="T9" fmla="*/ 0 h 20"/>
                <a:gd name="T10" fmla="*/ 51 w 59"/>
                <a:gd name="T11" fmla="*/ 0 h 20"/>
                <a:gd name="T12" fmla="*/ 59 w 59"/>
                <a:gd name="T13" fmla="*/ 8 h 20"/>
                <a:gd name="T14" fmla="*/ 59 w 59"/>
                <a:gd name="T15" fmla="*/ 12 h 20"/>
                <a:gd name="T16" fmla="*/ 51 w 59"/>
                <a:gd name="T17" fmla="*/ 20 h 20"/>
                <a:gd name="T18" fmla="*/ 8 w 59"/>
                <a:gd name="T19" fmla="*/ 4 h 20"/>
                <a:gd name="T20" fmla="*/ 5 w 59"/>
                <a:gd name="T21" fmla="*/ 8 h 20"/>
                <a:gd name="T22" fmla="*/ 5 w 59"/>
                <a:gd name="T23" fmla="*/ 12 h 20"/>
                <a:gd name="T24" fmla="*/ 8 w 59"/>
                <a:gd name="T25" fmla="*/ 15 h 20"/>
                <a:gd name="T26" fmla="*/ 51 w 59"/>
                <a:gd name="T27" fmla="*/ 15 h 20"/>
                <a:gd name="T28" fmla="*/ 54 w 59"/>
                <a:gd name="T29" fmla="*/ 12 h 20"/>
                <a:gd name="T30" fmla="*/ 54 w 59"/>
                <a:gd name="T31" fmla="*/ 8 h 20"/>
                <a:gd name="T32" fmla="*/ 51 w 59"/>
                <a:gd name="T33" fmla="*/ 4 h 20"/>
                <a:gd name="T34" fmla="*/ 8 w 59"/>
                <a:gd name="T35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" h="20">
                  <a:moveTo>
                    <a:pt x="51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5" y="0"/>
                    <a:pt x="59" y="3"/>
                    <a:pt x="59" y="8"/>
                  </a:cubicBezTo>
                  <a:cubicBezTo>
                    <a:pt x="59" y="12"/>
                    <a:pt x="59" y="12"/>
                    <a:pt x="59" y="12"/>
                  </a:cubicBezTo>
                  <a:cubicBezTo>
                    <a:pt x="59" y="16"/>
                    <a:pt x="55" y="20"/>
                    <a:pt x="51" y="20"/>
                  </a:cubicBezTo>
                  <a:close/>
                  <a:moveTo>
                    <a:pt x="8" y="4"/>
                  </a:moveTo>
                  <a:cubicBezTo>
                    <a:pt x="6" y="4"/>
                    <a:pt x="5" y="6"/>
                    <a:pt x="5" y="8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4"/>
                    <a:pt x="6" y="15"/>
                    <a:pt x="8" y="15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3" y="15"/>
                    <a:pt x="54" y="14"/>
                    <a:pt x="54" y="12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4" y="6"/>
                    <a:pt x="53" y="4"/>
                    <a:pt x="51" y="4"/>
                  </a:cubicBezTo>
                  <a:lnTo>
                    <a:pt x="8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8" name="Freeform 413">
              <a:extLst>
                <a:ext uri="{FF2B5EF4-FFF2-40B4-BE49-F238E27FC236}">
                  <a16:creationId xmlns:a16="http://schemas.microsoft.com/office/drawing/2014/main" id="{5A20F968-F47A-C935-F39E-C2BE935365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950" y="2130425"/>
              <a:ext cx="161925" cy="90488"/>
            </a:xfrm>
            <a:custGeom>
              <a:avLst/>
              <a:gdLst>
                <a:gd name="T0" fmla="*/ 53 w 72"/>
                <a:gd name="T1" fmla="*/ 39 h 40"/>
                <a:gd name="T2" fmla="*/ 52 w 72"/>
                <a:gd name="T3" fmla="*/ 39 h 40"/>
                <a:gd name="T4" fmla="*/ 51 w 72"/>
                <a:gd name="T5" fmla="*/ 36 h 40"/>
                <a:gd name="T6" fmla="*/ 65 w 72"/>
                <a:gd name="T7" fmla="*/ 13 h 40"/>
                <a:gd name="T8" fmla="*/ 66 w 72"/>
                <a:gd name="T9" fmla="*/ 10 h 40"/>
                <a:gd name="T10" fmla="*/ 33 w 72"/>
                <a:gd name="T11" fmla="*/ 13 h 40"/>
                <a:gd name="T12" fmla="*/ 17 w 72"/>
                <a:gd name="T13" fmla="*/ 11 h 40"/>
                <a:gd name="T14" fmla="*/ 7 w 72"/>
                <a:gd name="T15" fmla="*/ 8 h 40"/>
                <a:gd name="T16" fmla="*/ 7 w 72"/>
                <a:gd name="T17" fmla="*/ 8 h 40"/>
                <a:gd name="T18" fmla="*/ 24 w 72"/>
                <a:gd name="T19" fmla="*/ 35 h 40"/>
                <a:gd name="T20" fmla="*/ 24 w 72"/>
                <a:gd name="T21" fmla="*/ 39 h 40"/>
                <a:gd name="T22" fmla="*/ 20 w 72"/>
                <a:gd name="T23" fmla="*/ 39 h 40"/>
                <a:gd name="T24" fmla="*/ 3 w 72"/>
                <a:gd name="T25" fmla="*/ 7 h 40"/>
                <a:gd name="T26" fmla="*/ 7 w 72"/>
                <a:gd name="T27" fmla="*/ 3 h 40"/>
                <a:gd name="T28" fmla="*/ 19 w 72"/>
                <a:gd name="T29" fmla="*/ 7 h 40"/>
                <a:gd name="T30" fmla="*/ 31 w 72"/>
                <a:gd name="T31" fmla="*/ 9 h 40"/>
                <a:gd name="T32" fmla="*/ 70 w 72"/>
                <a:gd name="T33" fmla="*/ 7 h 40"/>
                <a:gd name="T34" fmla="*/ 69 w 72"/>
                <a:gd name="T35" fmla="*/ 16 h 40"/>
                <a:gd name="T36" fmla="*/ 55 w 72"/>
                <a:gd name="T37" fmla="*/ 38 h 40"/>
                <a:gd name="T38" fmla="*/ 53 w 72"/>
                <a:gd name="T39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40">
                  <a:moveTo>
                    <a:pt x="53" y="39"/>
                  </a:moveTo>
                  <a:cubicBezTo>
                    <a:pt x="52" y="39"/>
                    <a:pt x="52" y="39"/>
                    <a:pt x="52" y="39"/>
                  </a:cubicBezTo>
                  <a:cubicBezTo>
                    <a:pt x="50" y="38"/>
                    <a:pt x="50" y="37"/>
                    <a:pt x="51" y="36"/>
                  </a:cubicBezTo>
                  <a:cubicBezTo>
                    <a:pt x="51" y="35"/>
                    <a:pt x="55" y="27"/>
                    <a:pt x="65" y="13"/>
                  </a:cubicBezTo>
                  <a:cubicBezTo>
                    <a:pt x="66" y="12"/>
                    <a:pt x="66" y="11"/>
                    <a:pt x="66" y="10"/>
                  </a:cubicBezTo>
                  <a:cubicBezTo>
                    <a:pt x="63" y="7"/>
                    <a:pt x="42" y="9"/>
                    <a:pt x="33" y="13"/>
                  </a:cubicBezTo>
                  <a:cubicBezTo>
                    <a:pt x="26" y="16"/>
                    <a:pt x="21" y="14"/>
                    <a:pt x="17" y="11"/>
                  </a:cubicBezTo>
                  <a:cubicBezTo>
                    <a:pt x="14" y="9"/>
                    <a:pt x="11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11"/>
                    <a:pt x="14" y="24"/>
                    <a:pt x="24" y="35"/>
                  </a:cubicBezTo>
                  <a:cubicBezTo>
                    <a:pt x="25" y="36"/>
                    <a:pt x="25" y="38"/>
                    <a:pt x="24" y="39"/>
                  </a:cubicBezTo>
                  <a:cubicBezTo>
                    <a:pt x="23" y="40"/>
                    <a:pt x="21" y="40"/>
                    <a:pt x="20" y="39"/>
                  </a:cubicBezTo>
                  <a:cubicBezTo>
                    <a:pt x="14" y="31"/>
                    <a:pt x="0" y="13"/>
                    <a:pt x="3" y="7"/>
                  </a:cubicBezTo>
                  <a:cubicBezTo>
                    <a:pt x="3" y="5"/>
                    <a:pt x="5" y="4"/>
                    <a:pt x="7" y="3"/>
                  </a:cubicBezTo>
                  <a:cubicBezTo>
                    <a:pt x="12" y="3"/>
                    <a:pt x="16" y="5"/>
                    <a:pt x="19" y="7"/>
                  </a:cubicBezTo>
                  <a:cubicBezTo>
                    <a:pt x="23" y="9"/>
                    <a:pt x="26" y="11"/>
                    <a:pt x="31" y="9"/>
                  </a:cubicBezTo>
                  <a:cubicBezTo>
                    <a:pt x="38" y="6"/>
                    <a:pt x="64" y="0"/>
                    <a:pt x="70" y="7"/>
                  </a:cubicBezTo>
                  <a:cubicBezTo>
                    <a:pt x="71" y="9"/>
                    <a:pt x="72" y="11"/>
                    <a:pt x="69" y="16"/>
                  </a:cubicBezTo>
                  <a:cubicBezTo>
                    <a:pt x="60" y="30"/>
                    <a:pt x="55" y="38"/>
                    <a:pt x="55" y="38"/>
                  </a:cubicBezTo>
                  <a:cubicBezTo>
                    <a:pt x="54" y="39"/>
                    <a:pt x="54" y="39"/>
                    <a:pt x="53" y="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4" name="Shape39_20200717_142846">
            <a:extLst>
              <a:ext uri="{FF2B5EF4-FFF2-40B4-BE49-F238E27FC236}">
                <a16:creationId xmlns:a16="http://schemas.microsoft.com/office/drawing/2014/main" id="{04BA11F5-22CD-2D1A-4781-8C8632239855}"/>
              </a:ext>
            </a:extLst>
          </p:cNvPr>
          <p:cNvGrpSpPr>
            <a:grpSpLocks noChangeAspect="1"/>
          </p:cNvGrpSpPr>
          <p:nvPr/>
        </p:nvGrpSpPr>
        <p:grpSpPr>
          <a:xfrm>
            <a:off x="3216213" y="1259673"/>
            <a:ext cx="537340" cy="527748"/>
            <a:chOff x="-2795534" y="989978"/>
            <a:chExt cx="355593" cy="349250"/>
          </a:xfrm>
          <a:solidFill>
            <a:schemeClr val="accent1"/>
          </a:solidFill>
        </p:grpSpPr>
        <p:sp>
          <p:nvSpPr>
            <p:cNvPr id="55" name="Freeform 1382">
              <a:extLst>
                <a:ext uri="{FF2B5EF4-FFF2-40B4-BE49-F238E27FC236}">
                  <a16:creationId xmlns:a16="http://schemas.microsoft.com/office/drawing/2014/main" id="{3FC22954-0DE5-706E-E78D-058D7FAC4E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51072" y="989978"/>
              <a:ext cx="66674" cy="65088"/>
            </a:xfrm>
            <a:custGeom>
              <a:avLst/>
              <a:gdLst>
                <a:gd name="T0" fmla="*/ 32 w 63"/>
                <a:gd name="T1" fmla="*/ 63 h 63"/>
                <a:gd name="T2" fmla="*/ 0 w 63"/>
                <a:gd name="T3" fmla="*/ 32 h 63"/>
                <a:gd name="T4" fmla="*/ 32 w 63"/>
                <a:gd name="T5" fmla="*/ 0 h 63"/>
                <a:gd name="T6" fmla="*/ 63 w 63"/>
                <a:gd name="T7" fmla="*/ 32 h 63"/>
                <a:gd name="T8" fmla="*/ 32 w 63"/>
                <a:gd name="T9" fmla="*/ 63 h 63"/>
                <a:gd name="T10" fmla="*/ 32 w 63"/>
                <a:gd name="T11" fmla="*/ 11 h 63"/>
                <a:gd name="T12" fmla="*/ 11 w 63"/>
                <a:gd name="T13" fmla="*/ 32 h 63"/>
                <a:gd name="T14" fmla="*/ 32 w 63"/>
                <a:gd name="T15" fmla="*/ 52 h 63"/>
                <a:gd name="T16" fmla="*/ 52 w 63"/>
                <a:gd name="T17" fmla="*/ 32 h 63"/>
                <a:gd name="T18" fmla="*/ 32 w 63"/>
                <a:gd name="T19" fmla="*/ 1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32" y="63"/>
                  </a:moveTo>
                  <a:cubicBezTo>
                    <a:pt x="14" y="63"/>
                    <a:pt x="0" y="49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3" y="14"/>
                    <a:pt x="63" y="32"/>
                  </a:cubicBezTo>
                  <a:cubicBezTo>
                    <a:pt x="63" y="49"/>
                    <a:pt x="49" y="63"/>
                    <a:pt x="32" y="63"/>
                  </a:cubicBezTo>
                  <a:close/>
                  <a:moveTo>
                    <a:pt x="32" y="11"/>
                  </a:moveTo>
                  <a:cubicBezTo>
                    <a:pt x="20" y="11"/>
                    <a:pt x="11" y="21"/>
                    <a:pt x="11" y="32"/>
                  </a:cubicBezTo>
                  <a:cubicBezTo>
                    <a:pt x="11" y="43"/>
                    <a:pt x="20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1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6" name="Freeform 1383">
              <a:extLst>
                <a:ext uri="{FF2B5EF4-FFF2-40B4-BE49-F238E27FC236}">
                  <a16:creationId xmlns:a16="http://schemas.microsoft.com/office/drawing/2014/main" id="{726E78CD-D847-522C-751C-75D7423839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95534" y="1086815"/>
              <a:ext cx="114298" cy="252413"/>
            </a:xfrm>
            <a:custGeom>
              <a:avLst/>
              <a:gdLst>
                <a:gd name="T0" fmla="*/ 87 w 110"/>
                <a:gd name="T1" fmla="*/ 243 h 243"/>
                <a:gd name="T2" fmla="*/ 69 w 110"/>
                <a:gd name="T3" fmla="*/ 234 h 243"/>
                <a:gd name="T4" fmla="*/ 51 w 110"/>
                <a:gd name="T5" fmla="*/ 243 h 243"/>
                <a:gd name="T6" fmla="*/ 28 w 110"/>
                <a:gd name="T7" fmla="*/ 220 h 243"/>
                <a:gd name="T8" fmla="*/ 28 w 110"/>
                <a:gd name="T9" fmla="*/ 125 h 243"/>
                <a:gd name="T10" fmla="*/ 22 w 110"/>
                <a:gd name="T11" fmla="*/ 127 h 243"/>
                <a:gd name="T12" fmla="*/ 7 w 110"/>
                <a:gd name="T13" fmla="*/ 122 h 243"/>
                <a:gd name="T14" fmla="*/ 0 w 110"/>
                <a:gd name="T15" fmla="*/ 107 h 243"/>
                <a:gd name="T16" fmla="*/ 0 w 110"/>
                <a:gd name="T17" fmla="*/ 33 h 243"/>
                <a:gd name="T18" fmla="*/ 34 w 110"/>
                <a:gd name="T19" fmla="*/ 0 h 243"/>
                <a:gd name="T20" fmla="*/ 104 w 110"/>
                <a:gd name="T21" fmla="*/ 0 h 243"/>
                <a:gd name="T22" fmla="*/ 108 w 110"/>
                <a:gd name="T23" fmla="*/ 2 h 243"/>
                <a:gd name="T24" fmla="*/ 109 w 110"/>
                <a:gd name="T25" fmla="*/ 7 h 243"/>
                <a:gd name="T26" fmla="*/ 107 w 110"/>
                <a:gd name="T27" fmla="*/ 16 h 243"/>
                <a:gd name="T28" fmla="*/ 107 w 110"/>
                <a:gd name="T29" fmla="*/ 96 h 243"/>
                <a:gd name="T30" fmla="*/ 109 w 110"/>
                <a:gd name="T31" fmla="*/ 101 h 243"/>
                <a:gd name="T32" fmla="*/ 110 w 110"/>
                <a:gd name="T33" fmla="*/ 104 h 243"/>
                <a:gd name="T34" fmla="*/ 110 w 110"/>
                <a:gd name="T35" fmla="*/ 106 h 243"/>
                <a:gd name="T36" fmla="*/ 110 w 110"/>
                <a:gd name="T37" fmla="*/ 107 h 243"/>
                <a:gd name="T38" fmla="*/ 110 w 110"/>
                <a:gd name="T39" fmla="*/ 107 h 243"/>
                <a:gd name="T40" fmla="*/ 110 w 110"/>
                <a:gd name="T41" fmla="*/ 220 h 243"/>
                <a:gd name="T42" fmla="*/ 87 w 110"/>
                <a:gd name="T43" fmla="*/ 243 h 243"/>
                <a:gd name="T44" fmla="*/ 75 w 110"/>
                <a:gd name="T45" fmla="*/ 220 h 243"/>
                <a:gd name="T46" fmla="*/ 87 w 110"/>
                <a:gd name="T47" fmla="*/ 232 h 243"/>
                <a:gd name="T48" fmla="*/ 99 w 110"/>
                <a:gd name="T49" fmla="*/ 220 h 243"/>
                <a:gd name="T50" fmla="*/ 99 w 110"/>
                <a:gd name="T51" fmla="*/ 107 h 243"/>
                <a:gd name="T52" fmla="*/ 99 w 110"/>
                <a:gd name="T53" fmla="*/ 106 h 243"/>
                <a:gd name="T54" fmla="*/ 99 w 110"/>
                <a:gd name="T55" fmla="*/ 105 h 243"/>
                <a:gd name="T56" fmla="*/ 96 w 110"/>
                <a:gd name="T57" fmla="*/ 96 h 243"/>
                <a:gd name="T58" fmla="*/ 96 w 110"/>
                <a:gd name="T59" fmla="*/ 16 h 243"/>
                <a:gd name="T60" fmla="*/ 97 w 110"/>
                <a:gd name="T61" fmla="*/ 11 h 243"/>
                <a:gd name="T62" fmla="*/ 34 w 110"/>
                <a:gd name="T63" fmla="*/ 11 h 243"/>
                <a:gd name="T64" fmla="*/ 11 w 110"/>
                <a:gd name="T65" fmla="*/ 33 h 243"/>
                <a:gd name="T66" fmla="*/ 11 w 110"/>
                <a:gd name="T67" fmla="*/ 107 h 243"/>
                <a:gd name="T68" fmla="*/ 14 w 110"/>
                <a:gd name="T69" fmla="*/ 114 h 243"/>
                <a:gd name="T70" fmla="*/ 21 w 110"/>
                <a:gd name="T71" fmla="*/ 116 h 243"/>
                <a:gd name="T72" fmla="*/ 28 w 110"/>
                <a:gd name="T73" fmla="*/ 107 h 243"/>
                <a:gd name="T74" fmla="*/ 28 w 110"/>
                <a:gd name="T75" fmla="*/ 56 h 243"/>
                <a:gd name="T76" fmla="*/ 34 w 110"/>
                <a:gd name="T77" fmla="*/ 50 h 243"/>
                <a:gd name="T78" fmla="*/ 39 w 110"/>
                <a:gd name="T79" fmla="*/ 56 h 243"/>
                <a:gd name="T80" fmla="*/ 39 w 110"/>
                <a:gd name="T81" fmla="*/ 220 h 243"/>
                <a:gd name="T82" fmla="*/ 51 w 110"/>
                <a:gd name="T83" fmla="*/ 232 h 243"/>
                <a:gd name="T84" fmla="*/ 64 w 110"/>
                <a:gd name="T85" fmla="*/ 220 h 243"/>
                <a:gd name="T86" fmla="*/ 64 w 110"/>
                <a:gd name="T87" fmla="*/ 134 h 243"/>
                <a:gd name="T88" fmla="*/ 69 w 110"/>
                <a:gd name="T89" fmla="*/ 129 h 243"/>
                <a:gd name="T90" fmla="*/ 75 w 110"/>
                <a:gd name="T91" fmla="*/ 134 h 243"/>
                <a:gd name="T92" fmla="*/ 75 w 110"/>
                <a:gd name="T93" fmla="*/ 22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10" h="243">
                  <a:moveTo>
                    <a:pt x="87" y="243"/>
                  </a:moveTo>
                  <a:cubicBezTo>
                    <a:pt x="80" y="243"/>
                    <a:pt x="73" y="239"/>
                    <a:pt x="69" y="234"/>
                  </a:cubicBezTo>
                  <a:cubicBezTo>
                    <a:pt x="65" y="239"/>
                    <a:pt x="59" y="243"/>
                    <a:pt x="51" y="243"/>
                  </a:cubicBezTo>
                  <a:cubicBezTo>
                    <a:pt x="39" y="243"/>
                    <a:pt x="28" y="232"/>
                    <a:pt x="28" y="220"/>
                  </a:cubicBezTo>
                  <a:cubicBezTo>
                    <a:pt x="28" y="125"/>
                    <a:pt x="28" y="125"/>
                    <a:pt x="28" y="125"/>
                  </a:cubicBezTo>
                  <a:cubicBezTo>
                    <a:pt x="26" y="126"/>
                    <a:pt x="24" y="126"/>
                    <a:pt x="22" y="127"/>
                  </a:cubicBezTo>
                  <a:cubicBezTo>
                    <a:pt x="16" y="127"/>
                    <a:pt x="11" y="125"/>
                    <a:pt x="7" y="122"/>
                  </a:cubicBezTo>
                  <a:cubicBezTo>
                    <a:pt x="3" y="118"/>
                    <a:pt x="0" y="113"/>
                    <a:pt x="0" y="107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6" y="0"/>
                    <a:pt x="107" y="1"/>
                    <a:pt x="108" y="2"/>
                  </a:cubicBezTo>
                  <a:cubicBezTo>
                    <a:pt x="109" y="4"/>
                    <a:pt x="109" y="5"/>
                    <a:pt x="109" y="7"/>
                  </a:cubicBezTo>
                  <a:cubicBezTo>
                    <a:pt x="108" y="10"/>
                    <a:pt x="107" y="13"/>
                    <a:pt x="107" y="16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107" y="98"/>
                    <a:pt x="108" y="99"/>
                    <a:pt x="109" y="101"/>
                  </a:cubicBezTo>
                  <a:cubicBezTo>
                    <a:pt x="110" y="102"/>
                    <a:pt x="110" y="103"/>
                    <a:pt x="110" y="104"/>
                  </a:cubicBezTo>
                  <a:cubicBezTo>
                    <a:pt x="110" y="106"/>
                    <a:pt x="110" y="106"/>
                    <a:pt x="110" y="106"/>
                  </a:cubicBezTo>
                  <a:cubicBezTo>
                    <a:pt x="110" y="107"/>
                    <a:pt x="110" y="107"/>
                    <a:pt x="110" y="107"/>
                  </a:cubicBezTo>
                  <a:cubicBezTo>
                    <a:pt x="110" y="107"/>
                    <a:pt x="110" y="107"/>
                    <a:pt x="110" y="107"/>
                  </a:cubicBezTo>
                  <a:cubicBezTo>
                    <a:pt x="110" y="220"/>
                    <a:pt x="110" y="220"/>
                    <a:pt x="110" y="220"/>
                  </a:cubicBezTo>
                  <a:cubicBezTo>
                    <a:pt x="110" y="232"/>
                    <a:pt x="99" y="243"/>
                    <a:pt x="87" y="243"/>
                  </a:cubicBezTo>
                  <a:close/>
                  <a:moveTo>
                    <a:pt x="75" y="220"/>
                  </a:moveTo>
                  <a:cubicBezTo>
                    <a:pt x="75" y="226"/>
                    <a:pt x="80" y="232"/>
                    <a:pt x="87" y="232"/>
                  </a:cubicBezTo>
                  <a:cubicBezTo>
                    <a:pt x="93" y="232"/>
                    <a:pt x="99" y="226"/>
                    <a:pt x="99" y="220"/>
                  </a:cubicBezTo>
                  <a:cubicBezTo>
                    <a:pt x="99" y="107"/>
                    <a:pt x="99" y="107"/>
                    <a:pt x="99" y="107"/>
                  </a:cubicBezTo>
                  <a:cubicBezTo>
                    <a:pt x="99" y="107"/>
                    <a:pt x="99" y="106"/>
                    <a:pt x="99" y="106"/>
                  </a:cubicBezTo>
                  <a:cubicBezTo>
                    <a:pt x="99" y="106"/>
                    <a:pt x="99" y="106"/>
                    <a:pt x="99" y="105"/>
                  </a:cubicBezTo>
                  <a:cubicBezTo>
                    <a:pt x="97" y="102"/>
                    <a:pt x="96" y="99"/>
                    <a:pt x="96" y="96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96" y="14"/>
                    <a:pt x="97" y="12"/>
                    <a:pt x="97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21" y="11"/>
                    <a:pt x="11" y="21"/>
                    <a:pt x="11" y="33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1" y="110"/>
                    <a:pt x="12" y="112"/>
                    <a:pt x="14" y="114"/>
                  </a:cubicBezTo>
                  <a:cubicBezTo>
                    <a:pt x="16" y="115"/>
                    <a:pt x="18" y="116"/>
                    <a:pt x="21" y="116"/>
                  </a:cubicBezTo>
                  <a:cubicBezTo>
                    <a:pt x="25" y="115"/>
                    <a:pt x="28" y="111"/>
                    <a:pt x="28" y="107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53"/>
                    <a:pt x="31" y="50"/>
                    <a:pt x="34" y="50"/>
                  </a:cubicBezTo>
                  <a:cubicBezTo>
                    <a:pt x="37" y="50"/>
                    <a:pt x="39" y="53"/>
                    <a:pt x="39" y="56"/>
                  </a:cubicBezTo>
                  <a:cubicBezTo>
                    <a:pt x="39" y="220"/>
                    <a:pt x="39" y="220"/>
                    <a:pt x="39" y="220"/>
                  </a:cubicBezTo>
                  <a:cubicBezTo>
                    <a:pt x="39" y="226"/>
                    <a:pt x="45" y="232"/>
                    <a:pt x="51" y="232"/>
                  </a:cubicBezTo>
                  <a:cubicBezTo>
                    <a:pt x="58" y="232"/>
                    <a:pt x="64" y="226"/>
                    <a:pt x="64" y="220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64" y="131"/>
                    <a:pt x="66" y="129"/>
                    <a:pt x="69" y="129"/>
                  </a:cubicBezTo>
                  <a:cubicBezTo>
                    <a:pt x="72" y="129"/>
                    <a:pt x="75" y="131"/>
                    <a:pt x="75" y="134"/>
                  </a:cubicBezTo>
                  <a:lnTo>
                    <a:pt x="75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7" name="Freeform 1384">
              <a:extLst>
                <a:ext uri="{FF2B5EF4-FFF2-40B4-BE49-F238E27FC236}">
                  <a16:creationId xmlns:a16="http://schemas.microsoft.com/office/drawing/2014/main" id="{9D6C6290-01D0-8B91-BAC7-B85016269A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52673" y="1016966"/>
              <a:ext cx="60324" cy="60325"/>
            </a:xfrm>
            <a:custGeom>
              <a:avLst/>
              <a:gdLst>
                <a:gd name="T0" fmla="*/ 29 w 58"/>
                <a:gd name="T1" fmla="*/ 59 h 59"/>
                <a:gd name="T2" fmla="*/ 0 w 58"/>
                <a:gd name="T3" fmla="*/ 30 h 59"/>
                <a:gd name="T4" fmla="*/ 29 w 58"/>
                <a:gd name="T5" fmla="*/ 0 h 59"/>
                <a:gd name="T6" fmla="*/ 58 w 58"/>
                <a:gd name="T7" fmla="*/ 30 h 59"/>
                <a:gd name="T8" fmla="*/ 29 w 58"/>
                <a:gd name="T9" fmla="*/ 59 h 59"/>
                <a:gd name="T10" fmla="*/ 29 w 58"/>
                <a:gd name="T11" fmla="*/ 11 h 59"/>
                <a:gd name="T12" fmla="*/ 11 w 58"/>
                <a:gd name="T13" fmla="*/ 30 h 59"/>
                <a:gd name="T14" fmla="*/ 29 w 58"/>
                <a:gd name="T15" fmla="*/ 48 h 59"/>
                <a:gd name="T16" fmla="*/ 47 w 58"/>
                <a:gd name="T17" fmla="*/ 30 h 59"/>
                <a:gd name="T18" fmla="*/ 29 w 58"/>
                <a:gd name="T19" fmla="*/ 1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59">
                  <a:moveTo>
                    <a:pt x="29" y="59"/>
                  </a:moveTo>
                  <a:cubicBezTo>
                    <a:pt x="13" y="59"/>
                    <a:pt x="0" y="46"/>
                    <a:pt x="0" y="30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8" y="13"/>
                    <a:pt x="58" y="30"/>
                  </a:cubicBezTo>
                  <a:cubicBezTo>
                    <a:pt x="58" y="46"/>
                    <a:pt x="45" y="59"/>
                    <a:pt x="29" y="59"/>
                  </a:cubicBezTo>
                  <a:close/>
                  <a:moveTo>
                    <a:pt x="29" y="11"/>
                  </a:moveTo>
                  <a:cubicBezTo>
                    <a:pt x="19" y="11"/>
                    <a:pt x="11" y="20"/>
                    <a:pt x="11" y="30"/>
                  </a:cubicBezTo>
                  <a:cubicBezTo>
                    <a:pt x="11" y="40"/>
                    <a:pt x="19" y="48"/>
                    <a:pt x="29" y="48"/>
                  </a:cubicBezTo>
                  <a:cubicBezTo>
                    <a:pt x="39" y="48"/>
                    <a:pt x="47" y="40"/>
                    <a:pt x="47" y="30"/>
                  </a:cubicBezTo>
                  <a:cubicBezTo>
                    <a:pt x="47" y="20"/>
                    <a:pt x="39" y="11"/>
                    <a:pt x="2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8" name="Freeform 1385">
              <a:extLst>
                <a:ext uri="{FF2B5EF4-FFF2-40B4-BE49-F238E27FC236}">
                  <a16:creationId xmlns:a16="http://schemas.microsoft.com/office/drawing/2014/main" id="{822BB828-DF35-BEE4-6CE1-C47797AB39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54239" y="1086815"/>
              <a:ext cx="114298" cy="252413"/>
            </a:xfrm>
            <a:custGeom>
              <a:avLst/>
              <a:gdLst>
                <a:gd name="T0" fmla="*/ 59 w 110"/>
                <a:gd name="T1" fmla="*/ 243 h 243"/>
                <a:gd name="T2" fmla="*/ 41 w 110"/>
                <a:gd name="T3" fmla="*/ 234 h 243"/>
                <a:gd name="T4" fmla="*/ 24 w 110"/>
                <a:gd name="T5" fmla="*/ 243 h 243"/>
                <a:gd name="T6" fmla="*/ 0 w 110"/>
                <a:gd name="T7" fmla="*/ 220 h 243"/>
                <a:gd name="T8" fmla="*/ 0 w 110"/>
                <a:gd name="T9" fmla="*/ 107 h 243"/>
                <a:gd name="T10" fmla="*/ 1 w 110"/>
                <a:gd name="T11" fmla="*/ 105 h 243"/>
                <a:gd name="T12" fmla="*/ 3 w 110"/>
                <a:gd name="T13" fmla="*/ 96 h 243"/>
                <a:gd name="T14" fmla="*/ 3 w 110"/>
                <a:gd name="T15" fmla="*/ 16 h 243"/>
                <a:gd name="T16" fmla="*/ 1 w 110"/>
                <a:gd name="T17" fmla="*/ 7 h 243"/>
                <a:gd name="T18" fmla="*/ 2 w 110"/>
                <a:gd name="T19" fmla="*/ 2 h 243"/>
                <a:gd name="T20" fmla="*/ 7 w 110"/>
                <a:gd name="T21" fmla="*/ 0 h 243"/>
                <a:gd name="T22" fmla="*/ 76 w 110"/>
                <a:gd name="T23" fmla="*/ 0 h 243"/>
                <a:gd name="T24" fmla="*/ 110 w 110"/>
                <a:gd name="T25" fmla="*/ 33 h 243"/>
                <a:gd name="T26" fmla="*/ 110 w 110"/>
                <a:gd name="T27" fmla="*/ 107 h 243"/>
                <a:gd name="T28" fmla="*/ 103 w 110"/>
                <a:gd name="T29" fmla="*/ 122 h 243"/>
                <a:gd name="T30" fmla="*/ 88 w 110"/>
                <a:gd name="T31" fmla="*/ 127 h 243"/>
                <a:gd name="T32" fmla="*/ 82 w 110"/>
                <a:gd name="T33" fmla="*/ 125 h 243"/>
                <a:gd name="T34" fmla="*/ 82 w 110"/>
                <a:gd name="T35" fmla="*/ 220 h 243"/>
                <a:gd name="T36" fmla="*/ 59 w 110"/>
                <a:gd name="T37" fmla="*/ 243 h 243"/>
                <a:gd name="T38" fmla="*/ 47 w 110"/>
                <a:gd name="T39" fmla="*/ 220 h 243"/>
                <a:gd name="T40" fmla="*/ 59 w 110"/>
                <a:gd name="T41" fmla="*/ 232 h 243"/>
                <a:gd name="T42" fmla="*/ 71 w 110"/>
                <a:gd name="T43" fmla="*/ 220 h 243"/>
                <a:gd name="T44" fmla="*/ 71 w 110"/>
                <a:gd name="T45" fmla="*/ 107 h 243"/>
                <a:gd name="T46" fmla="*/ 71 w 110"/>
                <a:gd name="T47" fmla="*/ 107 h 243"/>
                <a:gd name="T48" fmla="*/ 71 w 110"/>
                <a:gd name="T49" fmla="*/ 56 h 243"/>
                <a:gd name="T50" fmla="*/ 76 w 110"/>
                <a:gd name="T51" fmla="*/ 50 h 243"/>
                <a:gd name="T52" fmla="*/ 82 w 110"/>
                <a:gd name="T53" fmla="*/ 56 h 243"/>
                <a:gd name="T54" fmla="*/ 82 w 110"/>
                <a:gd name="T55" fmla="*/ 106 h 243"/>
                <a:gd name="T56" fmla="*/ 82 w 110"/>
                <a:gd name="T57" fmla="*/ 107 h 243"/>
                <a:gd name="T58" fmla="*/ 90 w 110"/>
                <a:gd name="T59" fmla="*/ 116 h 243"/>
                <a:gd name="T60" fmla="*/ 96 w 110"/>
                <a:gd name="T61" fmla="*/ 114 h 243"/>
                <a:gd name="T62" fmla="*/ 99 w 110"/>
                <a:gd name="T63" fmla="*/ 107 h 243"/>
                <a:gd name="T64" fmla="*/ 99 w 110"/>
                <a:gd name="T65" fmla="*/ 33 h 243"/>
                <a:gd name="T66" fmla="*/ 76 w 110"/>
                <a:gd name="T67" fmla="*/ 11 h 243"/>
                <a:gd name="T68" fmla="*/ 13 w 110"/>
                <a:gd name="T69" fmla="*/ 11 h 243"/>
                <a:gd name="T70" fmla="*/ 14 w 110"/>
                <a:gd name="T71" fmla="*/ 16 h 243"/>
                <a:gd name="T72" fmla="*/ 14 w 110"/>
                <a:gd name="T73" fmla="*/ 96 h 243"/>
                <a:gd name="T74" fmla="*/ 11 w 110"/>
                <a:gd name="T75" fmla="*/ 107 h 243"/>
                <a:gd name="T76" fmla="*/ 11 w 110"/>
                <a:gd name="T77" fmla="*/ 220 h 243"/>
                <a:gd name="T78" fmla="*/ 24 w 110"/>
                <a:gd name="T79" fmla="*/ 232 h 243"/>
                <a:gd name="T80" fmla="*/ 36 w 110"/>
                <a:gd name="T81" fmla="*/ 220 h 243"/>
                <a:gd name="T82" fmla="*/ 36 w 110"/>
                <a:gd name="T83" fmla="*/ 134 h 243"/>
                <a:gd name="T84" fmla="*/ 41 w 110"/>
                <a:gd name="T85" fmla="*/ 129 h 243"/>
                <a:gd name="T86" fmla="*/ 47 w 110"/>
                <a:gd name="T87" fmla="*/ 134 h 243"/>
                <a:gd name="T88" fmla="*/ 47 w 110"/>
                <a:gd name="T89" fmla="*/ 22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0" h="243">
                  <a:moveTo>
                    <a:pt x="59" y="243"/>
                  </a:moveTo>
                  <a:cubicBezTo>
                    <a:pt x="52" y="243"/>
                    <a:pt x="45" y="239"/>
                    <a:pt x="41" y="234"/>
                  </a:cubicBezTo>
                  <a:cubicBezTo>
                    <a:pt x="37" y="239"/>
                    <a:pt x="31" y="243"/>
                    <a:pt x="24" y="243"/>
                  </a:cubicBezTo>
                  <a:cubicBezTo>
                    <a:pt x="11" y="243"/>
                    <a:pt x="0" y="232"/>
                    <a:pt x="0" y="220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6"/>
                    <a:pt x="0" y="106"/>
                    <a:pt x="1" y="105"/>
                  </a:cubicBezTo>
                  <a:cubicBezTo>
                    <a:pt x="2" y="101"/>
                    <a:pt x="3" y="97"/>
                    <a:pt x="3" y="9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3"/>
                    <a:pt x="2" y="10"/>
                    <a:pt x="1" y="7"/>
                  </a:cubicBezTo>
                  <a:cubicBezTo>
                    <a:pt x="1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5" y="0"/>
                    <a:pt x="110" y="15"/>
                    <a:pt x="110" y="33"/>
                  </a:cubicBezTo>
                  <a:cubicBezTo>
                    <a:pt x="110" y="107"/>
                    <a:pt x="110" y="107"/>
                    <a:pt x="110" y="107"/>
                  </a:cubicBezTo>
                  <a:cubicBezTo>
                    <a:pt x="110" y="113"/>
                    <a:pt x="108" y="118"/>
                    <a:pt x="103" y="122"/>
                  </a:cubicBezTo>
                  <a:cubicBezTo>
                    <a:pt x="99" y="125"/>
                    <a:pt x="94" y="127"/>
                    <a:pt x="88" y="127"/>
                  </a:cubicBezTo>
                  <a:cubicBezTo>
                    <a:pt x="86" y="126"/>
                    <a:pt x="84" y="126"/>
                    <a:pt x="82" y="125"/>
                  </a:cubicBezTo>
                  <a:cubicBezTo>
                    <a:pt x="82" y="220"/>
                    <a:pt x="82" y="220"/>
                    <a:pt x="82" y="220"/>
                  </a:cubicBezTo>
                  <a:cubicBezTo>
                    <a:pt x="82" y="232"/>
                    <a:pt x="71" y="243"/>
                    <a:pt x="59" y="243"/>
                  </a:cubicBezTo>
                  <a:close/>
                  <a:moveTo>
                    <a:pt x="47" y="220"/>
                  </a:moveTo>
                  <a:cubicBezTo>
                    <a:pt x="47" y="226"/>
                    <a:pt x="52" y="232"/>
                    <a:pt x="59" y="232"/>
                  </a:cubicBezTo>
                  <a:cubicBezTo>
                    <a:pt x="65" y="232"/>
                    <a:pt x="71" y="226"/>
                    <a:pt x="71" y="220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3"/>
                    <a:pt x="73" y="50"/>
                    <a:pt x="76" y="50"/>
                  </a:cubicBezTo>
                  <a:cubicBezTo>
                    <a:pt x="79" y="50"/>
                    <a:pt x="82" y="53"/>
                    <a:pt x="82" y="56"/>
                  </a:cubicBezTo>
                  <a:cubicBezTo>
                    <a:pt x="82" y="106"/>
                    <a:pt x="82" y="106"/>
                    <a:pt x="82" y="106"/>
                  </a:cubicBezTo>
                  <a:cubicBezTo>
                    <a:pt x="82" y="106"/>
                    <a:pt x="82" y="107"/>
                    <a:pt x="82" y="107"/>
                  </a:cubicBezTo>
                  <a:cubicBezTo>
                    <a:pt x="82" y="111"/>
                    <a:pt x="85" y="115"/>
                    <a:pt x="90" y="116"/>
                  </a:cubicBezTo>
                  <a:cubicBezTo>
                    <a:pt x="92" y="116"/>
                    <a:pt x="94" y="115"/>
                    <a:pt x="96" y="114"/>
                  </a:cubicBezTo>
                  <a:cubicBezTo>
                    <a:pt x="98" y="112"/>
                    <a:pt x="99" y="110"/>
                    <a:pt x="99" y="107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9" y="21"/>
                    <a:pt x="89" y="11"/>
                    <a:pt x="76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4" y="12"/>
                    <a:pt x="14" y="14"/>
                    <a:pt x="14" y="1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9"/>
                    <a:pt x="12" y="105"/>
                    <a:pt x="11" y="107"/>
                  </a:cubicBezTo>
                  <a:cubicBezTo>
                    <a:pt x="11" y="220"/>
                    <a:pt x="11" y="220"/>
                    <a:pt x="11" y="220"/>
                  </a:cubicBezTo>
                  <a:cubicBezTo>
                    <a:pt x="11" y="226"/>
                    <a:pt x="17" y="232"/>
                    <a:pt x="24" y="232"/>
                  </a:cubicBezTo>
                  <a:cubicBezTo>
                    <a:pt x="30" y="232"/>
                    <a:pt x="36" y="226"/>
                    <a:pt x="36" y="220"/>
                  </a:cubicBezTo>
                  <a:cubicBezTo>
                    <a:pt x="36" y="134"/>
                    <a:pt x="36" y="134"/>
                    <a:pt x="36" y="134"/>
                  </a:cubicBezTo>
                  <a:cubicBezTo>
                    <a:pt x="36" y="131"/>
                    <a:pt x="38" y="129"/>
                    <a:pt x="41" y="129"/>
                  </a:cubicBezTo>
                  <a:cubicBezTo>
                    <a:pt x="44" y="129"/>
                    <a:pt x="47" y="131"/>
                    <a:pt x="47" y="134"/>
                  </a:cubicBezTo>
                  <a:lnTo>
                    <a:pt x="47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" name="Freeform 1386">
              <a:extLst>
                <a:ext uri="{FF2B5EF4-FFF2-40B4-BE49-F238E27FC236}">
                  <a16:creationId xmlns:a16="http://schemas.microsoft.com/office/drawing/2014/main" id="{7CD25A14-3841-FAB8-9731-4A4E7E2A18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95519" y="1066177"/>
              <a:ext cx="155572" cy="271462"/>
            </a:xfrm>
            <a:custGeom>
              <a:avLst/>
              <a:gdLst>
                <a:gd name="T0" fmla="*/ 94 w 149"/>
                <a:gd name="T1" fmla="*/ 262 h 262"/>
                <a:gd name="T2" fmla="*/ 75 w 149"/>
                <a:gd name="T3" fmla="*/ 253 h 262"/>
                <a:gd name="T4" fmla="*/ 55 w 149"/>
                <a:gd name="T5" fmla="*/ 262 h 262"/>
                <a:gd name="T6" fmla="*/ 31 w 149"/>
                <a:gd name="T7" fmla="*/ 238 h 262"/>
                <a:gd name="T8" fmla="*/ 31 w 149"/>
                <a:gd name="T9" fmla="*/ 134 h 262"/>
                <a:gd name="T10" fmla="*/ 23 w 149"/>
                <a:gd name="T11" fmla="*/ 136 h 262"/>
                <a:gd name="T12" fmla="*/ 4 w 149"/>
                <a:gd name="T13" fmla="*/ 127 h 262"/>
                <a:gd name="T14" fmla="*/ 0 w 149"/>
                <a:gd name="T15" fmla="*/ 116 h 262"/>
                <a:gd name="T16" fmla="*/ 0 w 149"/>
                <a:gd name="T17" fmla="*/ 36 h 262"/>
                <a:gd name="T18" fmla="*/ 3 w 149"/>
                <a:gd name="T19" fmla="*/ 23 h 262"/>
                <a:gd name="T20" fmla="*/ 36 w 149"/>
                <a:gd name="T21" fmla="*/ 0 h 262"/>
                <a:gd name="T22" fmla="*/ 113 w 149"/>
                <a:gd name="T23" fmla="*/ 0 h 262"/>
                <a:gd name="T24" fmla="*/ 147 w 149"/>
                <a:gd name="T25" fmla="*/ 23 h 262"/>
                <a:gd name="T26" fmla="*/ 149 w 149"/>
                <a:gd name="T27" fmla="*/ 36 h 262"/>
                <a:gd name="T28" fmla="*/ 149 w 149"/>
                <a:gd name="T29" fmla="*/ 116 h 262"/>
                <a:gd name="T30" fmla="*/ 146 w 149"/>
                <a:gd name="T31" fmla="*/ 127 h 262"/>
                <a:gd name="T32" fmla="*/ 126 w 149"/>
                <a:gd name="T33" fmla="*/ 136 h 262"/>
                <a:gd name="T34" fmla="*/ 118 w 149"/>
                <a:gd name="T35" fmla="*/ 134 h 262"/>
                <a:gd name="T36" fmla="*/ 118 w 149"/>
                <a:gd name="T37" fmla="*/ 238 h 262"/>
                <a:gd name="T38" fmla="*/ 94 w 149"/>
                <a:gd name="T39" fmla="*/ 262 h 262"/>
                <a:gd name="T40" fmla="*/ 75 w 149"/>
                <a:gd name="T41" fmla="*/ 232 h 262"/>
                <a:gd name="T42" fmla="*/ 80 w 149"/>
                <a:gd name="T43" fmla="*/ 238 h 262"/>
                <a:gd name="T44" fmla="*/ 94 w 149"/>
                <a:gd name="T45" fmla="*/ 251 h 262"/>
                <a:gd name="T46" fmla="*/ 107 w 149"/>
                <a:gd name="T47" fmla="*/ 238 h 262"/>
                <a:gd name="T48" fmla="*/ 107 w 149"/>
                <a:gd name="T49" fmla="*/ 115 h 262"/>
                <a:gd name="T50" fmla="*/ 113 w 149"/>
                <a:gd name="T51" fmla="*/ 110 h 262"/>
                <a:gd name="T52" fmla="*/ 113 w 149"/>
                <a:gd name="T53" fmla="*/ 110 h 262"/>
                <a:gd name="T54" fmla="*/ 118 w 149"/>
                <a:gd name="T55" fmla="*/ 115 h 262"/>
                <a:gd name="T56" fmla="*/ 127 w 149"/>
                <a:gd name="T57" fmla="*/ 125 h 262"/>
                <a:gd name="T58" fmla="*/ 136 w 149"/>
                <a:gd name="T59" fmla="*/ 121 h 262"/>
                <a:gd name="T60" fmla="*/ 138 w 149"/>
                <a:gd name="T61" fmla="*/ 116 h 262"/>
                <a:gd name="T62" fmla="*/ 138 w 149"/>
                <a:gd name="T63" fmla="*/ 36 h 262"/>
                <a:gd name="T64" fmla="*/ 136 w 149"/>
                <a:gd name="T65" fmla="*/ 27 h 262"/>
                <a:gd name="T66" fmla="*/ 136 w 149"/>
                <a:gd name="T67" fmla="*/ 27 h 262"/>
                <a:gd name="T68" fmla="*/ 113 w 149"/>
                <a:gd name="T69" fmla="*/ 11 h 262"/>
                <a:gd name="T70" fmla="*/ 36 w 149"/>
                <a:gd name="T71" fmla="*/ 11 h 262"/>
                <a:gd name="T72" fmla="*/ 13 w 149"/>
                <a:gd name="T73" fmla="*/ 27 h 262"/>
                <a:gd name="T74" fmla="*/ 11 w 149"/>
                <a:gd name="T75" fmla="*/ 36 h 262"/>
                <a:gd name="T76" fmla="*/ 11 w 149"/>
                <a:gd name="T77" fmla="*/ 116 h 262"/>
                <a:gd name="T78" fmla="*/ 13 w 149"/>
                <a:gd name="T79" fmla="*/ 121 h 262"/>
                <a:gd name="T80" fmla="*/ 22 w 149"/>
                <a:gd name="T81" fmla="*/ 125 h 262"/>
                <a:gd name="T82" fmla="*/ 31 w 149"/>
                <a:gd name="T83" fmla="*/ 115 h 262"/>
                <a:gd name="T84" fmla="*/ 36 w 149"/>
                <a:gd name="T85" fmla="*/ 110 h 262"/>
                <a:gd name="T86" fmla="*/ 42 w 149"/>
                <a:gd name="T87" fmla="*/ 115 h 262"/>
                <a:gd name="T88" fmla="*/ 42 w 149"/>
                <a:gd name="T89" fmla="*/ 238 h 262"/>
                <a:gd name="T90" fmla="*/ 55 w 149"/>
                <a:gd name="T91" fmla="*/ 251 h 262"/>
                <a:gd name="T92" fmla="*/ 69 w 149"/>
                <a:gd name="T93" fmla="*/ 238 h 262"/>
                <a:gd name="T94" fmla="*/ 75 w 149"/>
                <a:gd name="T95" fmla="*/ 23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9" h="262">
                  <a:moveTo>
                    <a:pt x="94" y="262"/>
                  </a:moveTo>
                  <a:cubicBezTo>
                    <a:pt x="86" y="262"/>
                    <a:pt x="79" y="259"/>
                    <a:pt x="75" y="253"/>
                  </a:cubicBezTo>
                  <a:cubicBezTo>
                    <a:pt x="70" y="259"/>
                    <a:pt x="63" y="262"/>
                    <a:pt x="55" y="262"/>
                  </a:cubicBezTo>
                  <a:cubicBezTo>
                    <a:pt x="42" y="262"/>
                    <a:pt x="31" y="251"/>
                    <a:pt x="31" y="238"/>
                  </a:cubicBezTo>
                  <a:cubicBezTo>
                    <a:pt x="31" y="134"/>
                    <a:pt x="31" y="134"/>
                    <a:pt x="31" y="134"/>
                  </a:cubicBezTo>
                  <a:cubicBezTo>
                    <a:pt x="29" y="135"/>
                    <a:pt x="26" y="136"/>
                    <a:pt x="23" y="136"/>
                  </a:cubicBezTo>
                  <a:cubicBezTo>
                    <a:pt x="15" y="137"/>
                    <a:pt x="8" y="133"/>
                    <a:pt x="4" y="127"/>
                  </a:cubicBezTo>
                  <a:cubicBezTo>
                    <a:pt x="2" y="123"/>
                    <a:pt x="0" y="120"/>
                    <a:pt x="0" y="11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1"/>
                    <a:pt x="1" y="27"/>
                    <a:pt x="3" y="23"/>
                  </a:cubicBezTo>
                  <a:cubicBezTo>
                    <a:pt x="8" y="9"/>
                    <a:pt x="21" y="0"/>
                    <a:pt x="36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28" y="0"/>
                    <a:pt x="142" y="9"/>
                    <a:pt x="147" y="23"/>
                  </a:cubicBezTo>
                  <a:cubicBezTo>
                    <a:pt x="148" y="27"/>
                    <a:pt x="149" y="31"/>
                    <a:pt x="149" y="36"/>
                  </a:cubicBezTo>
                  <a:cubicBezTo>
                    <a:pt x="149" y="116"/>
                    <a:pt x="149" y="116"/>
                    <a:pt x="149" y="116"/>
                  </a:cubicBezTo>
                  <a:cubicBezTo>
                    <a:pt x="149" y="120"/>
                    <a:pt x="148" y="123"/>
                    <a:pt x="146" y="127"/>
                  </a:cubicBezTo>
                  <a:cubicBezTo>
                    <a:pt x="141" y="133"/>
                    <a:pt x="134" y="137"/>
                    <a:pt x="126" y="136"/>
                  </a:cubicBezTo>
                  <a:cubicBezTo>
                    <a:pt x="123" y="136"/>
                    <a:pt x="121" y="135"/>
                    <a:pt x="118" y="134"/>
                  </a:cubicBezTo>
                  <a:cubicBezTo>
                    <a:pt x="118" y="238"/>
                    <a:pt x="118" y="238"/>
                    <a:pt x="118" y="238"/>
                  </a:cubicBezTo>
                  <a:cubicBezTo>
                    <a:pt x="118" y="251"/>
                    <a:pt x="107" y="262"/>
                    <a:pt x="94" y="262"/>
                  </a:cubicBezTo>
                  <a:close/>
                  <a:moveTo>
                    <a:pt x="75" y="232"/>
                  </a:moveTo>
                  <a:cubicBezTo>
                    <a:pt x="78" y="232"/>
                    <a:pt x="80" y="235"/>
                    <a:pt x="80" y="238"/>
                  </a:cubicBezTo>
                  <a:cubicBezTo>
                    <a:pt x="80" y="245"/>
                    <a:pt x="86" y="251"/>
                    <a:pt x="94" y="251"/>
                  </a:cubicBezTo>
                  <a:cubicBezTo>
                    <a:pt x="101" y="251"/>
                    <a:pt x="107" y="245"/>
                    <a:pt x="107" y="238"/>
                  </a:cubicBezTo>
                  <a:cubicBezTo>
                    <a:pt x="107" y="115"/>
                    <a:pt x="107" y="115"/>
                    <a:pt x="107" y="115"/>
                  </a:cubicBezTo>
                  <a:cubicBezTo>
                    <a:pt x="107" y="112"/>
                    <a:pt x="110" y="110"/>
                    <a:pt x="113" y="110"/>
                  </a:cubicBezTo>
                  <a:cubicBezTo>
                    <a:pt x="113" y="110"/>
                    <a:pt x="113" y="110"/>
                    <a:pt x="113" y="110"/>
                  </a:cubicBezTo>
                  <a:cubicBezTo>
                    <a:pt x="116" y="110"/>
                    <a:pt x="118" y="112"/>
                    <a:pt x="118" y="115"/>
                  </a:cubicBezTo>
                  <a:cubicBezTo>
                    <a:pt x="118" y="120"/>
                    <a:pt x="122" y="125"/>
                    <a:pt x="127" y="125"/>
                  </a:cubicBezTo>
                  <a:cubicBezTo>
                    <a:pt x="131" y="126"/>
                    <a:pt x="134" y="124"/>
                    <a:pt x="136" y="121"/>
                  </a:cubicBezTo>
                  <a:cubicBezTo>
                    <a:pt x="137" y="119"/>
                    <a:pt x="138" y="118"/>
                    <a:pt x="138" y="116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38" y="33"/>
                    <a:pt x="137" y="30"/>
                    <a:pt x="136" y="27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33" y="17"/>
                    <a:pt x="123" y="11"/>
                    <a:pt x="113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6" y="11"/>
                    <a:pt x="16" y="17"/>
                    <a:pt x="13" y="27"/>
                  </a:cubicBezTo>
                  <a:cubicBezTo>
                    <a:pt x="12" y="30"/>
                    <a:pt x="11" y="33"/>
                    <a:pt x="11" y="3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8"/>
                    <a:pt x="12" y="119"/>
                    <a:pt x="13" y="121"/>
                  </a:cubicBezTo>
                  <a:cubicBezTo>
                    <a:pt x="15" y="124"/>
                    <a:pt x="18" y="126"/>
                    <a:pt x="22" y="125"/>
                  </a:cubicBezTo>
                  <a:cubicBezTo>
                    <a:pt x="27" y="125"/>
                    <a:pt x="31" y="120"/>
                    <a:pt x="31" y="115"/>
                  </a:cubicBezTo>
                  <a:cubicBezTo>
                    <a:pt x="31" y="112"/>
                    <a:pt x="33" y="110"/>
                    <a:pt x="36" y="110"/>
                  </a:cubicBezTo>
                  <a:cubicBezTo>
                    <a:pt x="39" y="110"/>
                    <a:pt x="42" y="112"/>
                    <a:pt x="42" y="115"/>
                  </a:cubicBezTo>
                  <a:cubicBezTo>
                    <a:pt x="42" y="238"/>
                    <a:pt x="42" y="238"/>
                    <a:pt x="42" y="238"/>
                  </a:cubicBezTo>
                  <a:cubicBezTo>
                    <a:pt x="42" y="245"/>
                    <a:pt x="48" y="251"/>
                    <a:pt x="55" y="251"/>
                  </a:cubicBezTo>
                  <a:cubicBezTo>
                    <a:pt x="63" y="251"/>
                    <a:pt x="69" y="245"/>
                    <a:pt x="69" y="238"/>
                  </a:cubicBezTo>
                  <a:cubicBezTo>
                    <a:pt x="69" y="235"/>
                    <a:pt x="72" y="232"/>
                    <a:pt x="75" y="2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" name="Freeform 1387">
              <a:extLst>
                <a:ext uri="{FF2B5EF4-FFF2-40B4-BE49-F238E27FC236}">
                  <a16:creationId xmlns:a16="http://schemas.microsoft.com/office/drawing/2014/main" id="{16F3CD78-4D8C-3D6B-6EB5-F9A41C2E4B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43125" y="1016965"/>
              <a:ext cx="60324" cy="60325"/>
            </a:xfrm>
            <a:custGeom>
              <a:avLst/>
              <a:gdLst>
                <a:gd name="T0" fmla="*/ 29 w 58"/>
                <a:gd name="T1" fmla="*/ 59 h 59"/>
                <a:gd name="T2" fmla="*/ 0 w 58"/>
                <a:gd name="T3" fmla="*/ 30 h 59"/>
                <a:gd name="T4" fmla="*/ 29 w 58"/>
                <a:gd name="T5" fmla="*/ 0 h 59"/>
                <a:gd name="T6" fmla="*/ 58 w 58"/>
                <a:gd name="T7" fmla="*/ 30 h 59"/>
                <a:gd name="T8" fmla="*/ 29 w 58"/>
                <a:gd name="T9" fmla="*/ 59 h 59"/>
                <a:gd name="T10" fmla="*/ 29 w 58"/>
                <a:gd name="T11" fmla="*/ 11 h 59"/>
                <a:gd name="T12" fmla="*/ 11 w 58"/>
                <a:gd name="T13" fmla="*/ 30 h 59"/>
                <a:gd name="T14" fmla="*/ 29 w 58"/>
                <a:gd name="T15" fmla="*/ 48 h 59"/>
                <a:gd name="T16" fmla="*/ 47 w 58"/>
                <a:gd name="T17" fmla="*/ 30 h 59"/>
                <a:gd name="T18" fmla="*/ 29 w 58"/>
                <a:gd name="T19" fmla="*/ 1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59">
                  <a:moveTo>
                    <a:pt x="29" y="59"/>
                  </a:moveTo>
                  <a:cubicBezTo>
                    <a:pt x="13" y="59"/>
                    <a:pt x="0" y="46"/>
                    <a:pt x="0" y="30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8" y="13"/>
                    <a:pt x="58" y="30"/>
                  </a:cubicBezTo>
                  <a:cubicBezTo>
                    <a:pt x="58" y="46"/>
                    <a:pt x="45" y="59"/>
                    <a:pt x="29" y="59"/>
                  </a:cubicBezTo>
                  <a:close/>
                  <a:moveTo>
                    <a:pt x="29" y="11"/>
                  </a:moveTo>
                  <a:cubicBezTo>
                    <a:pt x="19" y="11"/>
                    <a:pt x="11" y="20"/>
                    <a:pt x="11" y="30"/>
                  </a:cubicBezTo>
                  <a:cubicBezTo>
                    <a:pt x="11" y="40"/>
                    <a:pt x="19" y="48"/>
                    <a:pt x="29" y="48"/>
                  </a:cubicBezTo>
                  <a:cubicBezTo>
                    <a:pt x="39" y="48"/>
                    <a:pt x="47" y="40"/>
                    <a:pt x="47" y="30"/>
                  </a:cubicBezTo>
                  <a:cubicBezTo>
                    <a:pt x="47" y="20"/>
                    <a:pt x="39" y="11"/>
                    <a:pt x="2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Freeform 1388">
              <a:extLst>
                <a:ext uri="{FF2B5EF4-FFF2-40B4-BE49-F238E27FC236}">
                  <a16:creationId xmlns:a16="http://schemas.microsoft.com/office/drawing/2014/main" id="{CFF28BDE-5FF1-7D06-3829-D60F7C9D5D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24086" y="1210641"/>
              <a:ext cx="12700" cy="107950"/>
            </a:xfrm>
            <a:custGeom>
              <a:avLst/>
              <a:gdLst>
                <a:gd name="T0" fmla="*/ 6 w 11"/>
                <a:gd name="T1" fmla="*/ 103 h 103"/>
                <a:gd name="T2" fmla="*/ 0 w 11"/>
                <a:gd name="T3" fmla="*/ 98 h 103"/>
                <a:gd name="T4" fmla="*/ 0 w 11"/>
                <a:gd name="T5" fmla="*/ 6 h 103"/>
                <a:gd name="T6" fmla="*/ 6 w 11"/>
                <a:gd name="T7" fmla="*/ 0 h 103"/>
                <a:gd name="T8" fmla="*/ 11 w 11"/>
                <a:gd name="T9" fmla="*/ 6 h 103"/>
                <a:gd name="T10" fmla="*/ 11 w 11"/>
                <a:gd name="T11" fmla="*/ 98 h 103"/>
                <a:gd name="T12" fmla="*/ 6 w 11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3">
                  <a:moveTo>
                    <a:pt x="6" y="103"/>
                  </a:moveTo>
                  <a:cubicBezTo>
                    <a:pt x="3" y="103"/>
                    <a:pt x="0" y="101"/>
                    <a:pt x="0" y="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101"/>
                    <a:pt x="9" y="103"/>
                    <a:pt x="6" y="1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" name="Freeform 1389">
              <a:extLst>
                <a:ext uri="{FF2B5EF4-FFF2-40B4-BE49-F238E27FC236}">
                  <a16:creationId xmlns:a16="http://schemas.microsoft.com/office/drawing/2014/main" id="{D256E993-DB4E-8C68-4166-656AF6F345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62179" y="1113808"/>
              <a:ext cx="11113" cy="77788"/>
            </a:xfrm>
            <a:custGeom>
              <a:avLst/>
              <a:gdLst>
                <a:gd name="T0" fmla="*/ 5 w 11"/>
                <a:gd name="T1" fmla="*/ 74 h 74"/>
                <a:gd name="T2" fmla="*/ 0 w 11"/>
                <a:gd name="T3" fmla="*/ 68 h 74"/>
                <a:gd name="T4" fmla="*/ 0 w 11"/>
                <a:gd name="T5" fmla="*/ 6 h 74"/>
                <a:gd name="T6" fmla="*/ 5 w 11"/>
                <a:gd name="T7" fmla="*/ 0 h 74"/>
                <a:gd name="T8" fmla="*/ 11 w 11"/>
                <a:gd name="T9" fmla="*/ 6 h 74"/>
                <a:gd name="T10" fmla="*/ 11 w 11"/>
                <a:gd name="T11" fmla="*/ 68 h 74"/>
                <a:gd name="T12" fmla="*/ 5 w 11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4">
                  <a:moveTo>
                    <a:pt x="5" y="74"/>
                  </a:moveTo>
                  <a:cubicBezTo>
                    <a:pt x="2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68"/>
                    <a:pt x="11" y="68"/>
                    <a:pt x="11" y="68"/>
                  </a:cubicBezTo>
                  <a:cubicBezTo>
                    <a:pt x="11" y="71"/>
                    <a:pt x="8" y="74"/>
                    <a:pt x="5" y="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" name="Freeform 1390">
              <a:extLst>
                <a:ext uri="{FF2B5EF4-FFF2-40B4-BE49-F238E27FC236}">
                  <a16:creationId xmlns:a16="http://schemas.microsoft.com/office/drawing/2014/main" id="{D002FA6A-1963-6CE1-9AE7-C566E218A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84450" y="1113805"/>
              <a:ext cx="11113" cy="77788"/>
            </a:xfrm>
            <a:custGeom>
              <a:avLst/>
              <a:gdLst>
                <a:gd name="T0" fmla="*/ 6 w 11"/>
                <a:gd name="T1" fmla="*/ 74 h 74"/>
                <a:gd name="T2" fmla="*/ 0 w 11"/>
                <a:gd name="T3" fmla="*/ 68 h 74"/>
                <a:gd name="T4" fmla="*/ 0 w 11"/>
                <a:gd name="T5" fmla="*/ 6 h 74"/>
                <a:gd name="T6" fmla="*/ 6 w 11"/>
                <a:gd name="T7" fmla="*/ 0 h 74"/>
                <a:gd name="T8" fmla="*/ 11 w 11"/>
                <a:gd name="T9" fmla="*/ 6 h 74"/>
                <a:gd name="T10" fmla="*/ 11 w 11"/>
                <a:gd name="T11" fmla="*/ 68 h 74"/>
                <a:gd name="T12" fmla="*/ 6 w 11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4">
                  <a:moveTo>
                    <a:pt x="6" y="74"/>
                  </a:moveTo>
                  <a:cubicBezTo>
                    <a:pt x="3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68"/>
                    <a:pt x="11" y="68"/>
                    <a:pt x="11" y="68"/>
                  </a:cubicBezTo>
                  <a:cubicBezTo>
                    <a:pt x="11" y="71"/>
                    <a:pt x="9" y="74"/>
                    <a:pt x="6" y="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4" name="Shape42_20200717_142846">
            <a:extLst>
              <a:ext uri="{FF2B5EF4-FFF2-40B4-BE49-F238E27FC236}">
                <a16:creationId xmlns:a16="http://schemas.microsoft.com/office/drawing/2014/main" id="{4544C280-54F2-99F3-8AE5-24CD3A2146E4}"/>
              </a:ext>
            </a:extLst>
          </p:cNvPr>
          <p:cNvGrpSpPr>
            <a:grpSpLocks noChangeAspect="1"/>
          </p:cNvGrpSpPr>
          <p:nvPr/>
        </p:nvGrpSpPr>
        <p:grpSpPr>
          <a:xfrm>
            <a:off x="3211415" y="3861188"/>
            <a:ext cx="546941" cy="546941"/>
            <a:chOff x="-2798762" y="3364876"/>
            <a:chExt cx="361953" cy="361953"/>
          </a:xfrm>
          <a:solidFill>
            <a:schemeClr val="accent1"/>
          </a:solidFill>
        </p:grpSpPr>
        <p:sp>
          <p:nvSpPr>
            <p:cNvPr id="65" name="Freeform 1405">
              <a:extLst>
                <a:ext uri="{FF2B5EF4-FFF2-40B4-BE49-F238E27FC236}">
                  <a16:creationId xmlns:a16="http://schemas.microsoft.com/office/drawing/2014/main" id="{06852FF9-7B0E-9947-7FD5-AA49F81964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98762" y="3583954"/>
              <a:ext cx="141288" cy="142875"/>
            </a:xfrm>
            <a:custGeom>
              <a:avLst/>
              <a:gdLst>
                <a:gd name="T0" fmla="*/ 31 w 137"/>
                <a:gd name="T1" fmla="*/ 137 h 137"/>
                <a:gd name="T2" fmla="*/ 9 w 137"/>
                <a:gd name="T3" fmla="*/ 128 h 137"/>
                <a:gd name="T4" fmla="*/ 0 w 137"/>
                <a:gd name="T5" fmla="*/ 106 h 137"/>
                <a:gd name="T6" fmla="*/ 9 w 137"/>
                <a:gd name="T7" fmla="*/ 85 h 137"/>
                <a:gd name="T8" fmla="*/ 92 w 137"/>
                <a:gd name="T9" fmla="*/ 2 h 137"/>
                <a:gd name="T10" fmla="*/ 97 w 137"/>
                <a:gd name="T11" fmla="*/ 0 h 137"/>
                <a:gd name="T12" fmla="*/ 101 w 137"/>
                <a:gd name="T13" fmla="*/ 3 h 137"/>
                <a:gd name="T14" fmla="*/ 134 w 137"/>
                <a:gd name="T15" fmla="*/ 37 h 137"/>
                <a:gd name="T16" fmla="*/ 137 w 137"/>
                <a:gd name="T17" fmla="*/ 41 h 137"/>
                <a:gd name="T18" fmla="*/ 135 w 137"/>
                <a:gd name="T19" fmla="*/ 45 h 137"/>
                <a:gd name="T20" fmla="*/ 52 w 137"/>
                <a:gd name="T21" fmla="*/ 128 h 137"/>
                <a:gd name="T22" fmla="*/ 31 w 137"/>
                <a:gd name="T23" fmla="*/ 137 h 137"/>
                <a:gd name="T24" fmla="*/ 95 w 137"/>
                <a:gd name="T25" fmla="*/ 14 h 137"/>
                <a:gd name="T26" fmla="*/ 17 w 137"/>
                <a:gd name="T27" fmla="*/ 93 h 137"/>
                <a:gd name="T28" fmla="*/ 11 w 137"/>
                <a:gd name="T29" fmla="*/ 106 h 137"/>
                <a:gd name="T30" fmla="*/ 17 w 137"/>
                <a:gd name="T31" fmla="*/ 120 h 137"/>
                <a:gd name="T32" fmla="*/ 31 w 137"/>
                <a:gd name="T33" fmla="*/ 126 h 137"/>
                <a:gd name="T34" fmla="*/ 45 w 137"/>
                <a:gd name="T35" fmla="*/ 120 h 137"/>
                <a:gd name="T36" fmla="*/ 123 w 137"/>
                <a:gd name="T37" fmla="*/ 42 h 137"/>
                <a:gd name="T38" fmla="*/ 95 w 137"/>
                <a:gd name="T39" fmla="*/ 1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7" h="137">
                  <a:moveTo>
                    <a:pt x="31" y="137"/>
                  </a:moveTo>
                  <a:cubicBezTo>
                    <a:pt x="23" y="137"/>
                    <a:pt x="15" y="134"/>
                    <a:pt x="9" y="128"/>
                  </a:cubicBezTo>
                  <a:cubicBezTo>
                    <a:pt x="4" y="122"/>
                    <a:pt x="0" y="115"/>
                    <a:pt x="0" y="106"/>
                  </a:cubicBezTo>
                  <a:cubicBezTo>
                    <a:pt x="0" y="98"/>
                    <a:pt x="4" y="91"/>
                    <a:pt x="9" y="85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3" y="1"/>
                    <a:pt x="95" y="0"/>
                    <a:pt x="97" y="0"/>
                  </a:cubicBezTo>
                  <a:cubicBezTo>
                    <a:pt x="98" y="1"/>
                    <a:pt x="100" y="2"/>
                    <a:pt x="101" y="3"/>
                  </a:cubicBezTo>
                  <a:cubicBezTo>
                    <a:pt x="110" y="16"/>
                    <a:pt x="121" y="28"/>
                    <a:pt x="134" y="37"/>
                  </a:cubicBezTo>
                  <a:cubicBezTo>
                    <a:pt x="136" y="38"/>
                    <a:pt x="137" y="39"/>
                    <a:pt x="137" y="41"/>
                  </a:cubicBezTo>
                  <a:cubicBezTo>
                    <a:pt x="137" y="42"/>
                    <a:pt x="136" y="44"/>
                    <a:pt x="135" y="45"/>
                  </a:cubicBezTo>
                  <a:cubicBezTo>
                    <a:pt x="52" y="128"/>
                    <a:pt x="52" y="128"/>
                    <a:pt x="52" y="128"/>
                  </a:cubicBezTo>
                  <a:cubicBezTo>
                    <a:pt x="46" y="134"/>
                    <a:pt x="39" y="137"/>
                    <a:pt x="31" y="137"/>
                  </a:cubicBezTo>
                  <a:close/>
                  <a:moveTo>
                    <a:pt x="95" y="14"/>
                  </a:moveTo>
                  <a:cubicBezTo>
                    <a:pt x="17" y="93"/>
                    <a:pt x="17" y="93"/>
                    <a:pt x="17" y="93"/>
                  </a:cubicBezTo>
                  <a:cubicBezTo>
                    <a:pt x="13" y="96"/>
                    <a:pt x="11" y="101"/>
                    <a:pt x="11" y="106"/>
                  </a:cubicBezTo>
                  <a:cubicBezTo>
                    <a:pt x="11" y="112"/>
                    <a:pt x="13" y="117"/>
                    <a:pt x="17" y="120"/>
                  </a:cubicBezTo>
                  <a:cubicBezTo>
                    <a:pt x="21" y="124"/>
                    <a:pt x="26" y="126"/>
                    <a:pt x="31" y="126"/>
                  </a:cubicBezTo>
                  <a:cubicBezTo>
                    <a:pt x="36" y="126"/>
                    <a:pt x="41" y="124"/>
                    <a:pt x="45" y="120"/>
                  </a:cubicBezTo>
                  <a:cubicBezTo>
                    <a:pt x="123" y="42"/>
                    <a:pt x="123" y="42"/>
                    <a:pt x="123" y="42"/>
                  </a:cubicBezTo>
                  <a:cubicBezTo>
                    <a:pt x="113" y="34"/>
                    <a:pt x="103" y="25"/>
                    <a:pt x="95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" name="Freeform 1406">
              <a:extLst>
                <a:ext uri="{FF2B5EF4-FFF2-40B4-BE49-F238E27FC236}">
                  <a16:creationId xmlns:a16="http://schemas.microsoft.com/office/drawing/2014/main" id="{1A139FF0-7859-258B-72E5-C0A2BDBFC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19374" y="3455367"/>
              <a:ext cx="73025" cy="109538"/>
            </a:xfrm>
            <a:custGeom>
              <a:avLst/>
              <a:gdLst>
                <a:gd name="T0" fmla="*/ 34 w 70"/>
                <a:gd name="T1" fmla="*/ 104 h 104"/>
                <a:gd name="T2" fmla="*/ 2 w 70"/>
                <a:gd name="T3" fmla="*/ 87 h 104"/>
                <a:gd name="T4" fmla="*/ 3 w 70"/>
                <a:gd name="T5" fmla="*/ 79 h 104"/>
                <a:gd name="T6" fmla="*/ 10 w 70"/>
                <a:gd name="T7" fmla="*/ 81 h 104"/>
                <a:gd name="T8" fmla="*/ 50 w 70"/>
                <a:gd name="T9" fmla="*/ 89 h 104"/>
                <a:gd name="T10" fmla="*/ 50 w 70"/>
                <a:gd name="T11" fmla="*/ 89 h 104"/>
                <a:gd name="T12" fmla="*/ 58 w 70"/>
                <a:gd name="T13" fmla="*/ 74 h 104"/>
                <a:gd name="T14" fmla="*/ 46 w 70"/>
                <a:gd name="T15" fmla="*/ 58 h 104"/>
                <a:gd name="T16" fmla="*/ 21 w 70"/>
                <a:gd name="T17" fmla="*/ 51 h 104"/>
                <a:gd name="T18" fmla="*/ 1 w 70"/>
                <a:gd name="T19" fmla="*/ 26 h 104"/>
                <a:gd name="T20" fmla="*/ 9 w 70"/>
                <a:gd name="T21" fmla="*/ 8 h 104"/>
                <a:gd name="T22" fmla="*/ 36 w 70"/>
                <a:gd name="T23" fmla="*/ 0 h 104"/>
                <a:gd name="T24" fmla="*/ 69 w 70"/>
                <a:gd name="T25" fmla="*/ 23 h 104"/>
                <a:gd name="T26" fmla="*/ 65 w 70"/>
                <a:gd name="T27" fmla="*/ 30 h 104"/>
                <a:gd name="T28" fmla="*/ 59 w 70"/>
                <a:gd name="T29" fmla="*/ 26 h 104"/>
                <a:gd name="T30" fmla="*/ 36 w 70"/>
                <a:gd name="T31" fmla="*/ 11 h 104"/>
                <a:gd name="T32" fmla="*/ 16 w 70"/>
                <a:gd name="T33" fmla="*/ 16 h 104"/>
                <a:gd name="T34" fmla="*/ 12 w 70"/>
                <a:gd name="T35" fmla="*/ 26 h 104"/>
                <a:gd name="T36" fmla="*/ 24 w 70"/>
                <a:gd name="T37" fmla="*/ 40 h 104"/>
                <a:gd name="T38" fmla="*/ 49 w 70"/>
                <a:gd name="T39" fmla="*/ 48 h 104"/>
                <a:gd name="T40" fmla="*/ 69 w 70"/>
                <a:gd name="T41" fmla="*/ 73 h 104"/>
                <a:gd name="T42" fmla="*/ 54 w 70"/>
                <a:gd name="T43" fmla="*/ 99 h 104"/>
                <a:gd name="T44" fmla="*/ 34 w 70"/>
                <a:gd name="T4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0" h="104">
                  <a:moveTo>
                    <a:pt x="34" y="104"/>
                  </a:moveTo>
                  <a:cubicBezTo>
                    <a:pt x="23" y="104"/>
                    <a:pt x="11" y="100"/>
                    <a:pt x="2" y="87"/>
                  </a:cubicBezTo>
                  <a:cubicBezTo>
                    <a:pt x="0" y="85"/>
                    <a:pt x="0" y="81"/>
                    <a:pt x="3" y="79"/>
                  </a:cubicBezTo>
                  <a:cubicBezTo>
                    <a:pt x="5" y="78"/>
                    <a:pt x="8" y="78"/>
                    <a:pt x="10" y="81"/>
                  </a:cubicBezTo>
                  <a:cubicBezTo>
                    <a:pt x="26" y="101"/>
                    <a:pt x="49" y="90"/>
                    <a:pt x="50" y="89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1" y="89"/>
                    <a:pt x="59" y="85"/>
                    <a:pt x="58" y="74"/>
                  </a:cubicBezTo>
                  <a:cubicBezTo>
                    <a:pt x="57" y="62"/>
                    <a:pt x="46" y="58"/>
                    <a:pt x="46" y="58"/>
                  </a:cubicBezTo>
                  <a:cubicBezTo>
                    <a:pt x="45" y="58"/>
                    <a:pt x="33" y="55"/>
                    <a:pt x="21" y="51"/>
                  </a:cubicBezTo>
                  <a:cubicBezTo>
                    <a:pt x="8" y="47"/>
                    <a:pt x="1" y="38"/>
                    <a:pt x="1" y="26"/>
                  </a:cubicBezTo>
                  <a:cubicBezTo>
                    <a:pt x="1" y="18"/>
                    <a:pt x="4" y="12"/>
                    <a:pt x="9" y="8"/>
                  </a:cubicBezTo>
                  <a:cubicBezTo>
                    <a:pt x="15" y="2"/>
                    <a:pt x="24" y="0"/>
                    <a:pt x="36" y="0"/>
                  </a:cubicBezTo>
                  <a:cubicBezTo>
                    <a:pt x="57" y="0"/>
                    <a:pt x="67" y="15"/>
                    <a:pt x="69" y="23"/>
                  </a:cubicBezTo>
                  <a:cubicBezTo>
                    <a:pt x="70" y="26"/>
                    <a:pt x="68" y="29"/>
                    <a:pt x="65" y="30"/>
                  </a:cubicBezTo>
                  <a:cubicBezTo>
                    <a:pt x="62" y="31"/>
                    <a:pt x="59" y="29"/>
                    <a:pt x="59" y="26"/>
                  </a:cubicBezTo>
                  <a:cubicBezTo>
                    <a:pt x="58" y="25"/>
                    <a:pt x="54" y="11"/>
                    <a:pt x="36" y="11"/>
                  </a:cubicBezTo>
                  <a:cubicBezTo>
                    <a:pt x="27" y="11"/>
                    <a:pt x="20" y="13"/>
                    <a:pt x="16" y="16"/>
                  </a:cubicBezTo>
                  <a:cubicBezTo>
                    <a:pt x="14" y="18"/>
                    <a:pt x="12" y="22"/>
                    <a:pt x="12" y="26"/>
                  </a:cubicBezTo>
                  <a:cubicBezTo>
                    <a:pt x="12" y="34"/>
                    <a:pt x="16" y="38"/>
                    <a:pt x="24" y="40"/>
                  </a:cubicBezTo>
                  <a:cubicBezTo>
                    <a:pt x="36" y="44"/>
                    <a:pt x="49" y="48"/>
                    <a:pt x="49" y="48"/>
                  </a:cubicBezTo>
                  <a:cubicBezTo>
                    <a:pt x="49" y="48"/>
                    <a:pt x="67" y="53"/>
                    <a:pt x="69" y="73"/>
                  </a:cubicBezTo>
                  <a:cubicBezTo>
                    <a:pt x="70" y="88"/>
                    <a:pt x="60" y="97"/>
                    <a:pt x="54" y="99"/>
                  </a:cubicBezTo>
                  <a:cubicBezTo>
                    <a:pt x="50" y="101"/>
                    <a:pt x="42" y="104"/>
                    <a:pt x="34" y="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" name="Freeform 1407">
              <a:extLst>
                <a:ext uri="{FF2B5EF4-FFF2-40B4-BE49-F238E27FC236}">
                  <a16:creationId xmlns:a16="http://schemas.microsoft.com/office/drawing/2014/main" id="{4D713C7B-392B-73D9-FBC8-524CC2E2F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87624" y="3436318"/>
              <a:ext cx="11113" cy="31750"/>
            </a:xfrm>
            <a:custGeom>
              <a:avLst/>
              <a:gdLst>
                <a:gd name="T0" fmla="*/ 6 w 11"/>
                <a:gd name="T1" fmla="*/ 30 h 30"/>
                <a:gd name="T2" fmla="*/ 0 w 11"/>
                <a:gd name="T3" fmla="*/ 24 h 30"/>
                <a:gd name="T4" fmla="*/ 0 w 11"/>
                <a:gd name="T5" fmla="*/ 5 h 30"/>
                <a:gd name="T6" fmla="*/ 6 w 11"/>
                <a:gd name="T7" fmla="*/ 0 h 30"/>
                <a:gd name="T8" fmla="*/ 11 w 11"/>
                <a:gd name="T9" fmla="*/ 5 h 30"/>
                <a:gd name="T10" fmla="*/ 11 w 11"/>
                <a:gd name="T11" fmla="*/ 24 h 30"/>
                <a:gd name="T12" fmla="*/ 6 w 11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0">
                  <a:moveTo>
                    <a:pt x="6" y="30"/>
                  </a:moveTo>
                  <a:cubicBezTo>
                    <a:pt x="3" y="30"/>
                    <a:pt x="0" y="27"/>
                    <a:pt x="0" y="2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7"/>
                    <a:pt x="9" y="30"/>
                    <a:pt x="6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" name="Freeform 1408">
              <a:extLst>
                <a:ext uri="{FF2B5EF4-FFF2-40B4-BE49-F238E27FC236}">
                  <a16:creationId xmlns:a16="http://schemas.microsoft.com/office/drawing/2014/main" id="{EAC417E4-102E-BF55-3081-D716FEA84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87624" y="3553792"/>
              <a:ext cx="11113" cy="31750"/>
            </a:xfrm>
            <a:custGeom>
              <a:avLst/>
              <a:gdLst>
                <a:gd name="T0" fmla="*/ 6 w 11"/>
                <a:gd name="T1" fmla="*/ 30 h 30"/>
                <a:gd name="T2" fmla="*/ 0 w 11"/>
                <a:gd name="T3" fmla="*/ 25 h 30"/>
                <a:gd name="T4" fmla="*/ 0 w 11"/>
                <a:gd name="T5" fmla="*/ 5 h 30"/>
                <a:gd name="T6" fmla="*/ 6 w 11"/>
                <a:gd name="T7" fmla="*/ 0 h 30"/>
                <a:gd name="T8" fmla="*/ 11 w 11"/>
                <a:gd name="T9" fmla="*/ 5 h 30"/>
                <a:gd name="T10" fmla="*/ 11 w 11"/>
                <a:gd name="T11" fmla="*/ 25 h 30"/>
                <a:gd name="T12" fmla="*/ 6 w 11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0">
                  <a:moveTo>
                    <a:pt x="6" y="30"/>
                  </a:moveTo>
                  <a:cubicBezTo>
                    <a:pt x="3" y="30"/>
                    <a:pt x="0" y="28"/>
                    <a:pt x="0" y="2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8"/>
                    <a:pt x="9" y="30"/>
                    <a:pt x="6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" name="Freeform 1409">
              <a:extLst>
                <a:ext uri="{FF2B5EF4-FFF2-40B4-BE49-F238E27FC236}">
                  <a16:creationId xmlns:a16="http://schemas.microsoft.com/office/drawing/2014/main" id="{0FDB115D-216A-72B8-2B10-D02CD0F0B4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28909" y="3364876"/>
              <a:ext cx="292100" cy="292100"/>
            </a:xfrm>
            <a:custGeom>
              <a:avLst/>
              <a:gdLst>
                <a:gd name="T0" fmla="*/ 141 w 282"/>
                <a:gd name="T1" fmla="*/ 281 h 281"/>
                <a:gd name="T2" fmla="*/ 61 w 282"/>
                <a:gd name="T3" fmla="*/ 257 h 281"/>
                <a:gd name="T4" fmla="*/ 25 w 282"/>
                <a:gd name="T5" fmla="*/ 220 h 281"/>
                <a:gd name="T6" fmla="*/ 0 w 282"/>
                <a:gd name="T7" fmla="*/ 140 h 281"/>
                <a:gd name="T8" fmla="*/ 141 w 282"/>
                <a:gd name="T9" fmla="*/ 0 h 281"/>
                <a:gd name="T10" fmla="*/ 282 w 282"/>
                <a:gd name="T11" fmla="*/ 140 h 281"/>
                <a:gd name="T12" fmla="*/ 141 w 282"/>
                <a:gd name="T13" fmla="*/ 281 h 281"/>
                <a:gd name="T14" fmla="*/ 141 w 282"/>
                <a:gd name="T15" fmla="*/ 11 h 281"/>
                <a:gd name="T16" fmla="*/ 11 w 282"/>
                <a:gd name="T17" fmla="*/ 140 h 281"/>
                <a:gd name="T18" fmla="*/ 34 w 282"/>
                <a:gd name="T19" fmla="*/ 214 h 281"/>
                <a:gd name="T20" fmla="*/ 67 w 282"/>
                <a:gd name="T21" fmla="*/ 248 h 281"/>
                <a:gd name="T22" fmla="*/ 141 w 282"/>
                <a:gd name="T23" fmla="*/ 270 h 281"/>
                <a:gd name="T24" fmla="*/ 271 w 282"/>
                <a:gd name="T25" fmla="*/ 140 h 281"/>
                <a:gd name="T26" fmla="*/ 141 w 282"/>
                <a:gd name="T27" fmla="*/ 1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2" h="281">
                  <a:moveTo>
                    <a:pt x="141" y="281"/>
                  </a:moveTo>
                  <a:cubicBezTo>
                    <a:pt x="112" y="281"/>
                    <a:pt x="85" y="273"/>
                    <a:pt x="61" y="257"/>
                  </a:cubicBezTo>
                  <a:cubicBezTo>
                    <a:pt x="47" y="247"/>
                    <a:pt x="35" y="234"/>
                    <a:pt x="25" y="220"/>
                  </a:cubicBezTo>
                  <a:cubicBezTo>
                    <a:pt x="9" y="197"/>
                    <a:pt x="0" y="169"/>
                    <a:pt x="0" y="140"/>
                  </a:cubicBezTo>
                  <a:cubicBezTo>
                    <a:pt x="0" y="63"/>
                    <a:pt x="63" y="0"/>
                    <a:pt x="141" y="0"/>
                  </a:cubicBezTo>
                  <a:cubicBezTo>
                    <a:pt x="219" y="0"/>
                    <a:pt x="282" y="63"/>
                    <a:pt x="282" y="140"/>
                  </a:cubicBezTo>
                  <a:cubicBezTo>
                    <a:pt x="282" y="218"/>
                    <a:pt x="219" y="281"/>
                    <a:pt x="141" y="281"/>
                  </a:cubicBezTo>
                  <a:close/>
                  <a:moveTo>
                    <a:pt x="141" y="11"/>
                  </a:moveTo>
                  <a:cubicBezTo>
                    <a:pt x="69" y="11"/>
                    <a:pt x="11" y="69"/>
                    <a:pt x="11" y="140"/>
                  </a:cubicBezTo>
                  <a:cubicBezTo>
                    <a:pt x="11" y="167"/>
                    <a:pt x="19" y="192"/>
                    <a:pt x="34" y="214"/>
                  </a:cubicBezTo>
                  <a:cubicBezTo>
                    <a:pt x="43" y="227"/>
                    <a:pt x="54" y="239"/>
                    <a:pt x="67" y="248"/>
                  </a:cubicBezTo>
                  <a:cubicBezTo>
                    <a:pt x="89" y="263"/>
                    <a:pt x="115" y="270"/>
                    <a:pt x="141" y="270"/>
                  </a:cubicBezTo>
                  <a:cubicBezTo>
                    <a:pt x="213" y="270"/>
                    <a:pt x="271" y="212"/>
                    <a:pt x="271" y="140"/>
                  </a:cubicBezTo>
                  <a:cubicBezTo>
                    <a:pt x="271" y="69"/>
                    <a:pt x="213" y="11"/>
                    <a:pt x="14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" name="Freeform 1410">
              <a:extLst>
                <a:ext uri="{FF2B5EF4-FFF2-40B4-BE49-F238E27FC236}">
                  <a16:creationId xmlns:a16="http://schemas.microsoft.com/office/drawing/2014/main" id="{E8E4A79C-CA37-1363-580C-0EF712A7F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95575" y="3398218"/>
              <a:ext cx="225425" cy="225425"/>
            </a:xfrm>
            <a:custGeom>
              <a:avLst/>
              <a:gdLst>
                <a:gd name="T0" fmla="*/ 109 w 218"/>
                <a:gd name="T1" fmla="*/ 217 h 217"/>
                <a:gd name="T2" fmla="*/ 47 w 218"/>
                <a:gd name="T3" fmla="*/ 198 h 217"/>
                <a:gd name="T4" fmla="*/ 19 w 218"/>
                <a:gd name="T5" fmla="*/ 170 h 217"/>
                <a:gd name="T6" fmla="*/ 0 w 218"/>
                <a:gd name="T7" fmla="*/ 108 h 217"/>
                <a:gd name="T8" fmla="*/ 109 w 218"/>
                <a:gd name="T9" fmla="*/ 0 h 217"/>
                <a:gd name="T10" fmla="*/ 218 w 218"/>
                <a:gd name="T11" fmla="*/ 108 h 217"/>
                <a:gd name="T12" fmla="*/ 109 w 218"/>
                <a:gd name="T13" fmla="*/ 217 h 217"/>
                <a:gd name="T14" fmla="*/ 109 w 218"/>
                <a:gd name="T15" fmla="*/ 11 h 217"/>
                <a:gd name="T16" fmla="*/ 11 w 218"/>
                <a:gd name="T17" fmla="*/ 108 h 217"/>
                <a:gd name="T18" fmla="*/ 28 w 218"/>
                <a:gd name="T19" fmla="*/ 164 h 217"/>
                <a:gd name="T20" fmla="*/ 54 w 218"/>
                <a:gd name="T21" fmla="*/ 189 h 217"/>
                <a:gd name="T22" fmla="*/ 109 w 218"/>
                <a:gd name="T23" fmla="*/ 206 h 217"/>
                <a:gd name="T24" fmla="*/ 207 w 218"/>
                <a:gd name="T25" fmla="*/ 108 h 217"/>
                <a:gd name="T26" fmla="*/ 109 w 218"/>
                <a:gd name="T27" fmla="*/ 11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8" h="217">
                  <a:moveTo>
                    <a:pt x="109" y="217"/>
                  </a:moveTo>
                  <a:cubicBezTo>
                    <a:pt x="87" y="217"/>
                    <a:pt x="66" y="211"/>
                    <a:pt x="47" y="198"/>
                  </a:cubicBezTo>
                  <a:cubicBezTo>
                    <a:pt x="36" y="191"/>
                    <a:pt x="27" y="181"/>
                    <a:pt x="19" y="170"/>
                  </a:cubicBezTo>
                  <a:cubicBezTo>
                    <a:pt x="7" y="152"/>
                    <a:pt x="0" y="131"/>
                    <a:pt x="0" y="108"/>
                  </a:cubicBezTo>
                  <a:cubicBezTo>
                    <a:pt x="0" y="48"/>
                    <a:pt x="49" y="0"/>
                    <a:pt x="109" y="0"/>
                  </a:cubicBezTo>
                  <a:cubicBezTo>
                    <a:pt x="169" y="0"/>
                    <a:pt x="218" y="48"/>
                    <a:pt x="218" y="108"/>
                  </a:cubicBezTo>
                  <a:cubicBezTo>
                    <a:pt x="218" y="168"/>
                    <a:pt x="169" y="217"/>
                    <a:pt x="109" y="217"/>
                  </a:cubicBezTo>
                  <a:close/>
                  <a:moveTo>
                    <a:pt x="109" y="11"/>
                  </a:moveTo>
                  <a:cubicBezTo>
                    <a:pt x="55" y="11"/>
                    <a:pt x="11" y="54"/>
                    <a:pt x="11" y="108"/>
                  </a:cubicBezTo>
                  <a:cubicBezTo>
                    <a:pt x="11" y="128"/>
                    <a:pt x="17" y="147"/>
                    <a:pt x="28" y="164"/>
                  </a:cubicBezTo>
                  <a:cubicBezTo>
                    <a:pt x="35" y="174"/>
                    <a:pt x="44" y="182"/>
                    <a:pt x="54" y="189"/>
                  </a:cubicBezTo>
                  <a:cubicBezTo>
                    <a:pt x="70" y="200"/>
                    <a:pt x="89" y="206"/>
                    <a:pt x="109" y="206"/>
                  </a:cubicBezTo>
                  <a:cubicBezTo>
                    <a:pt x="163" y="206"/>
                    <a:pt x="207" y="162"/>
                    <a:pt x="207" y="108"/>
                  </a:cubicBezTo>
                  <a:cubicBezTo>
                    <a:pt x="207" y="54"/>
                    <a:pt x="163" y="11"/>
                    <a:pt x="10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1" name="Shape44_20200717_142846">
            <a:extLst>
              <a:ext uri="{FF2B5EF4-FFF2-40B4-BE49-F238E27FC236}">
                <a16:creationId xmlns:a16="http://schemas.microsoft.com/office/drawing/2014/main" id="{55938058-0E75-2350-E268-E57D891F5427}"/>
              </a:ext>
            </a:extLst>
          </p:cNvPr>
          <p:cNvGrpSpPr>
            <a:grpSpLocks noChangeAspect="1"/>
          </p:cNvGrpSpPr>
          <p:nvPr/>
        </p:nvGrpSpPr>
        <p:grpSpPr>
          <a:xfrm>
            <a:off x="3200623" y="2578426"/>
            <a:ext cx="568526" cy="501361"/>
            <a:chOff x="-596901" y="1791659"/>
            <a:chExt cx="376239" cy="331787"/>
          </a:xfrm>
          <a:solidFill>
            <a:schemeClr val="accent1"/>
          </a:solidFill>
        </p:grpSpPr>
        <p:sp>
          <p:nvSpPr>
            <p:cNvPr id="72" name="Freeform 1423">
              <a:extLst>
                <a:ext uri="{FF2B5EF4-FFF2-40B4-BE49-F238E27FC236}">
                  <a16:creationId xmlns:a16="http://schemas.microsoft.com/office/drawing/2014/main" id="{87C85A64-83B0-1568-C92D-D99F64E70D4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8163" y="1834519"/>
              <a:ext cx="60325" cy="87312"/>
            </a:xfrm>
            <a:custGeom>
              <a:avLst/>
              <a:gdLst>
                <a:gd name="T0" fmla="*/ 29 w 58"/>
                <a:gd name="T1" fmla="*/ 84 h 84"/>
                <a:gd name="T2" fmla="*/ 2 w 58"/>
                <a:gd name="T3" fmla="*/ 71 h 84"/>
                <a:gd name="T4" fmla="*/ 3 w 58"/>
                <a:gd name="T5" fmla="*/ 63 h 84"/>
                <a:gd name="T6" fmla="*/ 11 w 58"/>
                <a:gd name="T7" fmla="*/ 64 h 84"/>
                <a:gd name="T8" fmla="*/ 40 w 58"/>
                <a:gd name="T9" fmla="*/ 71 h 84"/>
                <a:gd name="T10" fmla="*/ 41 w 58"/>
                <a:gd name="T11" fmla="*/ 70 h 84"/>
                <a:gd name="T12" fmla="*/ 46 w 58"/>
                <a:gd name="T13" fmla="*/ 60 h 84"/>
                <a:gd name="T14" fmla="*/ 37 w 58"/>
                <a:gd name="T15" fmla="*/ 48 h 84"/>
                <a:gd name="T16" fmla="*/ 18 w 58"/>
                <a:gd name="T17" fmla="*/ 43 h 84"/>
                <a:gd name="T18" fmla="*/ 1 w 58"/>
                <a:gd name="T19" fmla="*/ 22 h 84"/>
                <a:gd name="T20" fmla="*/ 29 w 58"/>
                <a:gd name="T21" fmla="*/ 0 h 84"/>
                <a:gd name="T22" fmla="*/ 30 w 58"/>
                <a:gd name="T23" fmla="*/ 0 h 84"/>
                <a:gd name="T24" fmla="*/ 57 w 58"/>
                <a:gd name="T25" fmla="*/ 19 h 84"/>
                <a:gd name="T26" fmla="*/ 54 w 58"/>
                <a:gd name="T27" fmla="*/ 26 h 84"/>
                <a:gd name="T28" fmla="*/ 47 w 58"/>
                <a:gd name="T29" fmla="*/ 22 h 84"/>
                <a:gd name="T30" fmla="*/ 30 w 58"/>
                <a:gd name="T31" fmla="*/ 11 h 84"/>
                <a:gd name="T32" fmla="*/ 12 w 58"/>
                <a:gd name="T33" fmla="*/ 22 h 84"/>
                <a:gd name="T34" fmla="*/ 21 w 58"/>
                <a:gd name="T35" fmla="*/ 32 h 84"/>
                <a:gd name="T36" fmla="*/ 40 w 58"/>
                <a:gd name="T37" fmla="*/ 38 h 84"/>
                <a:gd name="T38" fmla="*/ 57 w 58"/>
                <a:gd name="T39" fmla="*/ 59 h 84"/>
                <a:gd name="T40" fmla="*/ 45 w 58"/>
                <a:gd name="T41" fmla="*/ 81 h 84"/>
                <a:gd name="T42" fmla="*/ 29 w 58"/>
                <a:gd name="T4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" h="84">
                  <a:moveTo>
                    <a:pt x="29" y="84"/>
                  </a:moveTo>
                  <a:cubicBezTo>
                    <a:pt x="20" y="84"/>
                    <a:pt x="10" y="81"/>
                    <a:pt x="2" y="71"/>
                  </a:cubicBezTo>
                  <a:cubicBezTo>
                    <a:pt x="0" y="68"/>
                    <a:pt x="1" y="65"/>
                    <a:pt x="3" y="63"/>
                  </a:cubicBezTo>
                  <a:cubicBezTo>
                    <a:pt x="6" y="61"/>
                    <a:pt x="9" y="62"/>
                    <a:pt x="11" y="64"/>
                  </a:cubicBezTo>
                  <a:cubicBezTo>
                    <a:pt x="23" y="80"/>
                    <a:pt x="40" y="71"/>
                    <a:pt x="40" y="71"/>
                  </a:cubicBezTo>
                  <a:cubicBezTo>
                    <a:pt x="40" y="71"/>
                    <a:pt x="41" y="71"/>
                    <a:pt x="41" y="70"/>
                  </a:cubicBezTo>
                  <a:cubicBezTo>
                    <a:pt x="41" y="70"/>
                    <a:pt x="47" y="67"/>
                    <a:pt x="46" y="60"/>
                  </a:cubicBezTo>
                  <a:cubicBezTo>
                    <a:pt x="46" y="51"/>
                    <a:pt x="38" y="49"/>
                    <a:pt x="37" y="48"/>
                  </a:cubicBezTo>
                  <a:cubicBezTo>
                    <a:pt x="37" y="48"/>
                    <a:pt x="28" y="46"/>
                    <a:pt x="18" y="43"/>
                  </a:cubicBezTo>
                  <a:cubicBezTo>
                    <a:pt x="4" y="39"/>
                    <a:pt x="1" y="29"/>
                    <a:pt x="1" y="22"/>
                  </a:cubicBezTo>
                  <a:cubicBezTo>
                    <a:pt x="2" y="17"/>
                    <a:pt x="4" y="0"/>
                    <a:pt x="29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47" y="0"/>
                    <a:pt x="55" y="13"/>
                    <a:pt x="57" y="19"/>
                  </a:cubicBezTo>
                  <a:cubicBezTo>
                    <a:pt x="58" y="22"/>
                    <a:pt x="56" y="25"/>
                    <a:pt x="54" y="26"/>
                  </a:cubicBezTo>
                  <a:cubicBezTo>
                    <a:pt x="51" y="27"/>
                    <a:pt x="48" y="25"/>
                    <a:pt x="47" y="22"/>
                  </a:cubicBezTo>
                  <a:cubicBezTo>
                    <a:pt x="46" y="21"/>
                    <a:pt x="43" y="11"/>
                    <a:pt x="30" y="11"/>
                  </a:cubicBezTo>
                  <a:cubicBezTo>
                    <a:pt x="18" y="11"/>
                    <a:pt x="13" y="15"/>
                    <a:pt x="12" y="22"/>
                  </a:cubicBezTo>
                  <a:cubicBezTo>
                    <a:pt x="12" y="26"/>
                    <a:pt x="13" y="30"/>
                    <a:pt x="21" y="32"/>
                  </a:cubicBezTo>
                  <a:cubicBezTo>
                    <a:pt x="31" y="35"/>
                    <a:pt x="40" y="38"/>
                    <a:pt x="40" y="38"/>
                  </a:cubicBezTo>
                  <a:cubicBezTo>
                    <a:pt x="41" y="38"/>
                    <a:pt x="56" y="43"/>
                    <a:pt x="57" y="59"/>
                  </a:cubicBezTo>
                  <a:cubicBezTo>
                    <a:pt x="58" y="71"/>
                    <a:pt x="50" y="78"/>
                    <a:pt x="45" y="81"/>
                  </a:cubicBezTo>
                  <a:cubicBezTo>
                    <a:pt x="41" y="82"/>
                    <a:pt x="35" y="84"/>
                    <a:pt x="29" y="8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" name="Freeform 1424">
              <a:extLst>
                <a:ext uri="{FF2B5EF4-FFF2-40B4-BE49-F238E27FC236}">
                  <a16:creationId xmlns:a16="http://schemas.microsoft.com/office/drawing/2014/main" id="{ED4A367A-B571-BA3E-B2EF-9954CC60C9A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4351" y="1818644"/>
              <a:ext cx="12700" cy="26988"/>
            </a:xfrm>
            <a:custGeom>
              <a:avLst/>
              <a:gdLst>
                <a:gd name="T0" fmla="*/ 6 w 11"/>
                <a:gd name="T1" fmla="*/ 26 h 26"/>
                <a:gd name="T2" fmla="*/ 0 w 11"/>
                <a:gd name="T3" fmla="*/ 21 h 26"/>
                <a:gd name="T4" fmla="*/ 0 w 11"/>
                <a:gd name="T5" fmla="*/ 6 h 26"/>
                <a:gd name="T6" fmla="*/ 6 w 11"/>
                <a:gd name="T7" fmla="*/ 0 h 26"/>
                <a:gd name="T8" fmla="*/ 11 w 11"/>
                <a:gd name="T9" fmla="*/ 6 h 26"/>
                <a:gd name="T10" fmla="*/ 11 w 11"/>
                <a:gd name="T11" fmla="*/ 21 h 26"/>
                <a:gd name="T12" fmla="*/ 6 w 11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6" y="26"/>
                  </a:moveTo>
                  <a:cubicBezTo>
                    <a:pt x="3" y="26"/>
                    <a:pt x="0" y="24"/>
                    <a:pt x="0" y="2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6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4"/>
                    <a:pt x="9" y="26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" name="Freeform 1425">
              <a:extLst>
                <a:ext uri="{FF2B5EF4-FFF2-40B4-BE49-F238E27FC236}">
                  <a16:creationId xmlns:a16="http://schemas.microsoft.com/office/drawing/2014/main" id="{54E3ED90-7587-197A-3D53-555502DB87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4351" y="1912306"/>
              <a:ext cx="12700" cy="26988"/>
            </a:xfrm>
            <a:custGeom>
              <a:avLst/>
              <a:gdLst>
                <a:gd name="T0" fmla="*/ 6 w 11"/>
                <a:gd name="T1" fmla="*/ 27 h 27"/>
                <a:gd name="T2" fmla="*/ 0 w 11"/>
                <a:gd name="T3" fmla="*/ 21 h 27"/>
                <a:gd name="T4" fmla="*/ 0 w 11"/>
                <a:gd name="T5" fmla="*/ 6 h 27"/>
                <a:gd name="T6" fmla="*/ 6 w 11"/>
                <a:gd name="T7" fmla="*/ 0 h 27"/>
                <a:gd name="T8" fmla="*/ 11 w 11"/>
                <a:gd name="T9" fmla="*/ 6 h 27"/>
                <a:gd name="T10" fmla="*/ 11 w 11"/>
                <a:gd name="T11" fmla="*/ 21 h 27"/>
                <a:gd name="T12" fmla="*/ 6 w 11"/>
                <a:gd name="T1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7">
                  <a:moveTo>
                    <a:pt x="6" y="27"/>
                  </a:moveTo>
                  <a:cubicBezTo>
                    <a:pt x="3" y="27"/>
                    <a:pt x="0" y="24"/>
                    <a:pt x="0" y="2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4"/>
                    <a:pt x="9" y="27"/>
                    <a:pt x="6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" name="Freeform 1426">
              <a:extLst>
                <a:ext uri="{FF2B5EF4-FFF2-40B4-BE49-F238E27FC236}">
                  <a16:creationId xmlns:a16="http://schemas.microsoft.com/office/drawing/2014/main" id="{F9AB0102-2BD2-B4BF-83CC-86EC1B0DE5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6901" y="1791659"/>
              <a:ext cx="177800" cy="177799"/>
            </a:xfrm>
            <a:custGeom>
              <a:avLst/>
              <a:gdLst>
                <a:gd name="T0" fmla="*/ 85 w 171"/>
                <a:gd name="T1" fmla="*/ 171 h 171"/>
                <a:gd name="T2" fmla="*/ 0 w 171"/>
                <a:gd name="T3" fmla="*/ 86 h 171"/>
                <a:gd name="T4" fmla="*/ 85 w 171"/>
                <a:gd name="T5" fmla="*/ 0 h 171"/>
                <a:gd name="T6" fmla="*/ 171 w 171"/>
                <a:gd name="T7" fmla="*/ 86 h 171"/>
                <a:gd name="T8" fmla="*/ 85 w 171"/>
                <a:gd name="T9" fmla="*/ 171 h 171"/>
                <a:gd name="T10" fmla="*/ 85 w 171"/>
                <a:gd name="T11" fmla="*/ 11 h 171"/>
                <a:gd name="T12" fmla="*/ 11 w 171"/>
                <a:gd name="T13" fmla="*/ 86 h 171"/>
                <a:gd name="T14" fmla="*/ 85 w 171"/>
                <a:gd name="T15" fmla="*/ 160 h 171"/>
                <a:gd name="T16" fmla="*/ 160 w 171"/>
                <a:gd name="T17" fmla="*/ 86 h 171"/>
                <a:gd name="T18" fmla="*/ 85 w 171"/>
                <a:gd name="T19" fmla="*/ 1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1" h="171">
                  <a:moveTo>
                    <a:pt x="85" y="171"/>
                  </a:moveTo>
                  <a:cubicBezTo>
                    <a:pt x="38" y="171"/>
                    <a:pt x="0" y="133"/>
                    <a:pt x="0" y="86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2" y="0"/>
                    <a:pt x="171" y="39"/>
                    <a:pt x="171" y="86"/>
                  </a:cubicBezTo>
                  <a:cubicBezTo>
                    <a:pt x="171" y="133"/>
                    <a:pt x="132" y="171"/>
                    <a:pt x="85" y="171"/>
                  </a:cubicBezTo>
                  <a:close/>
                  <a:moveTo>
                    <a:pt x="85" y="11"/>
                  </a:moveTo>
                  <a:cubicBezTo>
                    <a:pt x="44" y="11"/>
                    <a:pt x="11" y="45"/>
                    <a:pt x="11" y="86"/>
                  </a:cubicBezTo>
                  <a:cubicBezTo>
                    <a:pt x="11" y="127"/>
                    <a:pt x="44" y="160"/>
                    <a:pt x="85" y="160"/>
                  </a:cubicBezTo>
                  <a:cubicBezTo>
                    <a:pt x="126" y="160"/>
                    <a:pt x="160" y="127"/>
                    <a:pt x="160" y="86"/>
                  </a:cubicBezTo>
                  <a:cubicBezTo>
                    <a:pt x="160" y="45"/>
                    <a:pt x="126" y="11"/>
                    <a:pt x="8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6" name="Freeform 1427">
              <a:extLst>
                <a:ext uri="{FF2B5EF4-FFF2-40B4-BE49-F238E27FC236}">
                  <a16:creationId xmlns:a16="http://schemas.microsoft.com/office/drawing/2014/main" id="{12169B23-2ECA-2EEA-1F50-39936E164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2601" y="1939297"/>
              <a:ext cx="261939" cy="184149"/>
            </a:xfrm>
            <a:custGeom>
              <a:avLst/>
              <a:gdLst>
                <a:gd name="T0" fmla="*/ 211 w 253"/>
                <a:gd name="T1" fmla="*/ 177 h 177"/>
                <a:gd name="T2" fmla="*/ 206 w 253"/>
                <a:gd name="T3" fmla="*/ 171 h 177"/>
                <a:gd name="T4" fmla="*/ 206 w 253"/>
                <a:gd name="T5" fmla="*/ 137 h 177"/>
                <a:gd name="T6" fmla="*/ 211 w 253"/>
                <a:gd name="T7" fmla="*/ 131 h 177"/>
                <a:gd name="T8" fmla="*/ 217 w 253"/>
                <a:gd name="T9" fmla="*/ 137 h 177"/>
                <a:gd name="T10" fmla="*/ 228 w 253"/>
                <a:gd name="T11" fmla="*/ 150 h 177"/>
                <a:gd name="T12" fmla="*/ 238 w 253"/>
                <a:gd name="T13" fmla="*/ 147 h 177"/>
                <a:gd name="T14" fmla="*/ 242 w 253"/>
                <a:gd name="T15" fmla="*/ 137 h 177"/>
                <a:gd name="T16" fmla="*/ 242 w 253"/>
                <a:gd name="T17" fmla="*/ 42 h 177"/>
                <a:gd name="T18" fmla="*/ 211 w 253"/>
                <a:gd name="T19" fmla="*/ 11 h 177"/>
                <a:gd name="T20" fmla="*/ 120 w 253"/>
                <a:gd name="T21" fmla="*/ 11 h 177"/>
                <a:gd name="T22" fmla="*/ 102 w 253"/>
                <a:gd name="T23" fmla="*/ 17 h 177"/>
                <a:gd name="T24" fmla="*/ 63 w 253"/>
                <a:gd name="T25" fmla="*/ 48 h 177"/>
                <a:gd name="T26" fmla="*/ 61 w 253"/>
                <a:gd name="T27" fmla="*/ 49 h 177"/>
                <a:gd name="T28" fmla="*/ 19 w 253"/>
                <a:gd name="T29" fmla="*/ 62 h 177"/>
                <a:gd name="T30" fmla="*/ 13 w 253"/>
                <a:gd name="T31" fmla="*/ 68 h 177"/>
                <a:gd name="T32" fmla="*/ 12 w 253"/>
                <a:gd name="T33" fmla="*/ 76 h 177"/>
                <a:gd name="T34" fmla="*/ 24 w 253"/>
                <a:gd name="T35" fmla="*/ 83 h 177"/>
                <a:gd name="T36" fmla="*/ 48 w 253"/>
                <a:gd name="T37" fmla="*/ 79 h 177"/>
                <a:gd name="T38" fmla="*/ 91 w 253"/>
                <a:gd name="T39" fmla="*/ 65 h 177"/>
                <a:gd name="T40" fmla="*/ 118 w 253"/>
                <a:gd name="T41" fmla="*/ 53 h 177"/>
                <a:gd name="T42" fmla="*/ 123 w 253"/>
                <a:gd name="T43" fmla="*/ 53 h 177"/>
                <a:gd name="T44" fmla="*/ 125 w 253"/>
                <a:gd name="T45" fmla="*/ 58 h 177"/>
                <a:gd name="T46" fmla="*/ 125 w 253"/>
                <a:gd name="T47" fmla="*/ 137 h 177"/>
                <a:gd name="T48" fmla="*/ 120 w 253"/>
                <a:gd name="T49" fmla="*/ 142 h 177"/>
                <a:gd name="T50" fmla="*/ 114 w 253"/>
                <a:gd name="T51" fmla="*/ 137 h 177"/>
                <a:gd name="T52" fmla="*/ 114 w 253"/>
                <a:gd name="T53" fmla="*/ 66 h 177"/>
                <a:gd name="T54" fmla="*/ 95 w 253"/>
                <a:gd name="T55" fmla="*/ 75 h 177"/>
                <a:gd name="T56" fmla="*/ 50 w 253"/>
                <a:gd name="T57" fmla="*/ 89 h 177"/>
                <a:gd name="T58" fmla="*/ 26 w 253"/>
                <a:gd name="T59" fmla="*/ 94 h 177"/>
                <a:gd name="T60" fmla="*/ 2 w 253"/>
                <a:gd name="T61" fmla="*/ 80 h 177"/>
                <a:gd name="T62" fmla="*/ 3 w 253"/>
                <a:gd name="T63" fmla="*/ 63 h 177"/>
                <a:gd name="T64" fmla="*/ 16 w 253"/>
                <a:gd name="T65" fmla="*/ 52 h 177"/>
                <a:gd name="T66" fmla="*/ 57 w 253"/>
                <a:gd name="T67" fmla="*/ 39 h 177"/>
                <a:gd name="T68" fmla="*/ 96 w 253"/>
                <a:gd name="T69" fmla="*/ 9 h 177"/>
                <a:gd name="T70" fmla="*/ 120 w 253"/>
                <a:gd name="T71" fmla="*/ 0 h 177"/>
                <a:gd name="T72" fmla="*/ 211 w 253"/>
                <a:gd name="T73" fmla="*/ 0 h 177"/>
                <a:gd name="T74" fmla="*/ 253 w 253"/>
                <a:gd name="T75" fmla="*/ 42 h 177"/>
                <a:gd name="T76" fmla="*/ 253 w 253"/>
                <a:gd name="T77" fmla="*/ 137 h 177"/>
                <a:gd name="T78" fmla="*/ 245 w 253"/>
                <a:gd name="T79" fmla="*/ 155 h 177"/>
                <a:gd name="T80" fmla="*/ 227 w 253"/>
                <a:gd name="T81" fmla="*/ 161 h 177"/>
                <a:gd name="T82" fmla="*/ 217 w 253"/>
                <a:gd name="T83" fmla="*/ 157 h 177"/>
                <a:gd name="T84" fmla="*/ 217 w 253"/>
                <a:gd name="T85" fmla="*/ 171 h 177"/>
                <a:gd name="T86" fmla="*/ 211 w 253"/>
                <a:gd name="T87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3" h="177">
                  <a:moveTo>
                    <a:pt x="211" y="177"/>
                  </a:moveTo>
                  <a:cubicBezTo>
                    <a:pt x="208" y="177"/>
                    <a:pt x="206" y="174"/>
                    <a:pt x="206" y="171"/>
                  </a:cubicBezTo>
                  <a:cubicBezTo>
                    <a:pt x="206" y="137"/>
                    <a:pt x="206" y="137"/>
                    <a:pt x="206" y="137"/>
                  </a:cubicBezTo>
                  <a:cubicBezTo>
                    <a:pt x="206" y="134"/>
                    <a:pt x="208" y="131"/>
                    <a:pt x="211" y="131"/>
                  </a:cubicBezTo>
                  <a:cubicBezTo>
                    <a:pt x="214" y="131"/>
                    <a:pt x="217" y="134"/>
                    <a:pt x="217" y="137"/>
                  </a:cubicBezTo>
                  <a:cubicBezTo>
                    <a:pt x="217" y="144"/>
                    <a:pt x="222" y="149"/>
                    <a:pt x="228" y="150"/>
                  </a:cubicBezTo>
                  <a:cubicBezTo>
                    <a:pt x="232" y="150"/>
                    <a:pt x="235" y="149"/>
                    <a:pt x="238" y="147"/>
                  </a:cubicBezTo>
                  <a:cubicBezTo>
                    <a:pt x="241" y="144"/>
                    <a:pt x="242" y="141"/>
                    <a:pt x="242" y="137"/>
                  </a:cubicBezTo>
                  <a:cubicBezTo>
                    <a:pt x="242" y="42"/>
                    <a:pt x="242" y="42"/>
                    <a:pt x="242" y="42"/>
                  </a:cubicBezTo>
                  <a:cubicBezTo>
                    <a:pt x="242" y="25"/>
                    <a:pt x="228" y="11"/>
                    <a:pt x="211" y="11"/>
                  </a:cubicBezTo>
                  <a:cubicBezTo>
                    <a:pt x="120" y="11"/>
                    <a:pt x="120" y="11"/>
                    <a:pt x="120" y="11"/>
                  </a:cubicBezTo>
                  <a:cubicBezTo>
                    <a:pt x="114" y="11"/>
                    <a:pt x="108" y="13"/>
                    <a:pt x="102" y="17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2" y="48"/>
                    <a:pt x="62" y="49"/>
                    <a:pt x="61" y="49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6" y="63"/>
                    <a:pt x="14" y="65"/>
                    <a:pt x="13" y="68"/>
                  </a:cubicBezTo>
                  <a:cubicBezTo>
                    <a:pt x="11" y="71"/>
                    <a:pt x="11" y="74"/>
                    <a:pt x="12" y="76"/>
                  </a:cubicBezTo>
                  <a:cubicBezTo>
                    <a:pt x="14" y="81"/>
                    <a:pt x="19" y="84"/>
                    <a:pt x="24" y="83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63" y="76"/>
                    <a:pt x="77" y="71"/>
                    <a:pt x="91" y="65"/>
                  </a:cubicBezTo>
                  <a:cubicBezTo>
                    <a:pt x="118" y="53"/>
                    <a:pt x="118" y="53"/>
                    <a:pt x="118" y="53"/>
                  </a:cubicBezTo>
                  <a:cubicBezTo>
                    <a:pt x="119" y="52"/>
                    <a:pt x="121" y="52"/>
                    <a:pt x="123" y="53"/>
                  </a:cubicBezTo>
                  <a:cubicBezTo>
                    <a:pt x="124" y="54"/>
                    <a:pt x="125" y="56"/>
                    <a:pt x="125" y="58"/>
                  </a:cubicBezTo>
                  <a:cubicBezTo>
                    <a:pt x="125" y="137"/>
                    <a:pt x="125" y="137"/>
                    <a:pt x="125" y="137"/>
                  </a:cubicBezTo>
                  <a:cubicBezTo>
                    <a:pt x="125" y="140"/>
                    <a:pt x="123" y="142"/>
                    <a:pt x="120" y="142"/>
                  </a:cubicBezTo>
                  <a:cubicBezTo>
                    <a:pt x="117" y="142"/>
                    <a:pt x="114" y="140"/>
                    <a:pt x="114" y="137"/>
                  </a:cubicBezTo>
                  <a:cubicBezTo>
                    <a:pt x="114" y="66"/>
                    <a:pt x="114" y="66"/>
                    <a:pt x="114" y="66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81" y="82"/>
                    <a:pt x="66" y="87"/>
                    <a:pt x="50" y="89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16" y="96"/>
                    <a:pt x="6" y="90"/>
                    <a:pt x="2" y="80"/>
                  </a:cubicBezTo>
                  <a:cubicBezTo>
                    <a:pt x="0" y="75"/>
                    <a:pt x="0" y="69"/>
                    <a:pt x="3" y="63"/>
                  </a:cubicBezTo>
                  <a:cubicBezTo>
                    <a:pt x="5" y="58"/>
                    <a:pt x="10" y="54"/>
                    <a:pt x="16" y="52"/>
                  </a:cubicBezTo>
                  <a:cubicBezTo>
                    <a:pt x="57" y="39"/>
                    <a:pt x="57" y="39"/>
                    <a:pt x="57" y="39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103" y="3"/>
                    <a:pt x="111" y="0"/>
                    <a:pt x="120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34" y="0"/>
                    <a:pt x="253" y="18"/>
                    <a:pt x="253" y="42"/>
                  </a:cubicBezTo>
                  <a:cubicBezTo>
                    <a:pt x="253" y="137"/>
                    <a:pt x="253" y="137"/>
                    <a:pt x="253" y="137"/>
                  </a:cubicBezTo>
                  <a:cubicBezTo>
                    <a:pt x="253" y="144"/>
                    <a:pt x="250" y="150"/>
                    <a:pt x="245" y="155"/>
                  </a:cubicBezTo>
                  <a:cubicBezTo>
                    <a:pt x="241" y="159"/>
                    <a:pt x="234" y="162"/>
                    <a:pt x="227" y="161"/>
                  </a:cubicBezTo>
                  <a:cubicBezTo>
                    <a:pt x="223" y="161"/>
                    <a:pt x="220" y="159"/>
                    <a:pt x="217" y="157"/>
                  </a:cubicBezTo>
                  <a:cubicBezTo>
                    <a:pt x="217" y="171"/>
                    <a:pt x="217" y="171"/>
                    <a:pt x="217" y="171"/>
                  </a:cubicBezTo>
                  <a:cubicBezTo>
                    <a:pt x="217" y="174"/>
                    <a:pt x="214" y="177"/>
                    <a:pt x="211" y="1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" name="Freeform 1428">
              <a:extLst>
                <a:ext uri="{FF2B5EF4-FFF2-40B4-BE49-F238E27FC236}">
                  <a16:creationId xmlns:a16="http://schemas.microsoft.com/office/drawing/2014/main" id="{8EB67B9E-6CF0-A3F8-CD75-748D2D85B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3538" y="2075820"/>
              <a:ext cx="11113" cy="47625"/>
            </a:xfrm>
            <a:custGeom>
              <a:avLst/>
              <a:gdLst>
                <a:gd name="T0" fmla="*/ 6 w 11"/>
                <a:gd name="T1" fmla="*/ 46 h 46"/>
                <a:gd name="T2" fmla="*/ 0 w 11"/>
                <a:gd name="T3" fmla="*/ 40 h 46"/>
                <a:gd name="T4" fmla="*/ 0 w 11"/>
                <a:gd name="T5" fmla="*/ 6 h 46"/>
                <a:gd name="T6" fmla="*/ 6 w 11"/>
                <a:gd name="T7" fmla="*/ 0 h 46"/>
                <a:gd name="T8" fmla="*/ 11 w 11"/>
                <a:gd name="T9" fmla="*/ 6 h 46"/>
                <a:gd name="T10" fmla="*/ 11 w 11"/>
                <a:gd name="T11" fmla="*/ 40 h 46"/>
                <a:gd name="T12" fmla="*/ 6 w 11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6">
                  <a:moveTo>
                    <a:pt x="6" y="46"/>
                  </a:moveTo>
                  <a:cubicBezTo>
                    <a:pt x="3" y="46"/>
                    <a:pt x="0" y="43"/>
                    <a:pt x="0" y="4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3"/>
                    <a:pt x="9" y="46"/>
                    <a:pt x="6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1429">
              <a:extLst>
                <a:ext uri="{FF2B5EF4-FFF2-40B4-BE49-F238E27FC236}">
                  <a16:creationId xmlns:a16="http://schemas.microsoft.com/office/drawing/2014/main" id="{3282FBBE-2945-A694-9FC4-6CC8140C9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3539" y="1939295"/>
              <a:ext cx="106364" cy="11113"/>
            </a:xfrm>
            <a:custGeom>
              <a:avLst/>
              <a:gdLst>
                <a:gd name="T0" fmla="*/ 97 w 103"/>
                <a:gd name="T1" fmla="*/ 11 h 11"/>
                <a:gd name="T2" fmla="*/ 6 w 103"/>
                <a:gd name="T3" fmla="*/ 11 h 11"/>
                <a:gd name="T4" fmla="*/ 0 w 103"/>
                <a:gd name="T5" fmla="*/ 5 h 11"/>
                <a:gd name="T6" fmla="*/ 6 w 103"/>
                <a:gd name="T7" fmla="*/ 0 h 11"/>
                <a:gd name="T8" fmla="*/ 97 w 103"/>
                <a:gd name="T9" fmla="*/ 0 h 11"/>
                <a:gd name="T10" fmla="*/ 103 w 103"/>
                <a:gd name="T11" fmla="*/ 5 h 11"/>
                <a:gd name="T12" fmla="*/ 97 w 103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11">
                  <a:moveTo>
                    <a:pt x="97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00" y="0"/>
                    <a:pt x="103" y="2"/>
                    <a:pt x="103" y="5"/>
                  </a:cubicBezTo>
                  <a:cubicBezTo>
                    <a:pt x="103" y="8"/>
                    <a:pt x="100" y="11"/>
                    <a:pt x="9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9" name="Freeform 1430">
              <a:extLst>
                <a:ext uri="{FF2B5EF4-FFF2-40B4-BE49-F238E27FC236}">
                  <a16:creationId xmlns:a16="http://schemas.microsoft.com/office/drawing/2014/main" id="{2808C8E5-D32F-793F-8C2F-E2E550C56F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8288" y="1993271"/>
              <a:ext cx="11113" cy="93663"/>
            </a:xfrm>
            <a:custGeom>
              <a:avLst/>
              <a:gdLst>
                <a:gd name="T0" fmla="*/ 5 w 11"/>
                <a:gd name="T1" fmla="*/ 90 h 90"/>
                <a:gd name="T2" fmla="*/ 0 w 11"/>
                <a:gd name="T3" fmla="*/ 85 h 90"/>
                <a:gd name="T4" fmla="*/ 0 w 11"/>
                <a:gd name="T5" fmla="*/ 6 h 90"/>
                <a:gd name="T6" fmla="*/ 5 w 11"/>
                <a:gd name="T7" fmla="*/ 0 h 90"/>
                <a:gd name="T8" fmla="*/ 11 w 11"/>
                <a:gd name="T9" fmla="*/ 6 h 90"/>
                <a:gd name="T10" fmla="*/ 11 w 11"/>
                <a:gd name="T11" fmla="*/ 85 h 90"/>
                <a:gd name="T12" fmla="*/ 5 w 11"/>
                <a:gd name="T13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0">
                  <a:moveTo>
                    <a:pt x="5" y="90"/>
                  </a:moveTo>
                  <a:cubicBezTo>
                    <a:pt x="2" y="90"/>
                    <a:pt x="0" y="88"/>
                    <a:pt x="0" y="8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8"/>
                    <a:pt x="8" y="90"/>
                    <a:pt x="5" y="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0" name="Freeform 1431">
              <a:extLst>
                <a:ext uri="{FF2B5EF4-FFF2-40B4-BE49-F238E27FC236}">
                  <a16:creationId xmlns:a16="http://schemas.microsoft.com/office/drawing/2014/main" id="{5E8474B6-41FD-E727-CD39-59E32016D8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9250" y="1850405"/>
              <a:ext cx="76200" cy="74613"/>
            </a:xfrm>
            <a:custGeom>
              <a:avLst/>
              <a:gdLst>
                <a:gd name="T0" fmla="*/ 37 w 73"/>
                <a:gd name="T1" fmla="*/ 72 h 72"/>
                <a:gd name="T2" fmla="*/ 0 w 73"/>
                <a:gd name="T3" fmla="*/ 36 h 72"/>
                <a:gd name="T4" fmla="*/ 37 w 73"/>
                <a:gd name="T5" fmla="*/ 0 h 72"/>
                <a:gd name="T6" fmla="*/ 73 w 73"/>
                <a:gd name="T7" fmla="*/ 36 h 72"/>
                <a:gd name="T8" fmla="*/ 37 w 73"/>
                <a:gd name="T9" fmla="*/ 72 h 72"/>
                <a:gd name="T10" fmla="*/ 37 w 73"/>
                <a:gd name="T11" fmla="*/ 11 h 72"/>
                <a:gd name="T12" fmla="*/ 11 w 73"/>
                <a:gd name="T13" fmla="*/ 36 h 72"/>
                <a:gd name="T14" fmla="*/ 37 w 73"/>
                <a:gd name="T15" fmla="*/ 61 h 72"/>
                <a:gd name="T16" fmla="*/ 62 w 73"/>
                <a:gd name="T17" fmla="*/ 36 h 72"/>
                <a:gd name="T18" fmla="*/ 37 w 73"/>
                <a:gd name="T19" fmla="*/ 11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72">
                  <a:moveTo>
                    <a:pt x="37" y="72"/>
                  </a:moveTo>
                  <a:cubicBezTo>
                    <a:pt x="17" y="72"/>
                    <a:pt x="0" y="56"/>
                    <a:pt x="0" y="36"/>
                  </a:cubicBezTo>
                  <a:cubicBezTo>
                    <a:pt x="0" y="16"/>
                    <a:pt x="17" y="0"/>
                    <a:pt x="37" y="0"/>
                  </a:cubicBezTo>
                  <a:cubicBezTo>
                    <a:pt x="57" y="0"/>
                    <a:pt x="73" y="16"/>
                    <a:pt x="73" y="36"/>
                  </a:cubicBezTo>
                  <a:cubicBezTo>
                    <a:pt x="73" y="56"/>
                    <a:pt x="57" y="72"/>
                    <a:pt x="37" y="72"/>
                  </a:cubicBezTo>
                  <a:close/>
                  <a:moveTo>
                    <a:pt x="37" y="11"/>
                  </a:moveTo>
                  <a:cubicBezTo>
                    <a:pt x="23" y="11"/>
                    <a:pt x="11" y="22"/>
                    <a:pt x="11" y="36"/>
                  </a:cubicBezTo>
                  <a:cubicBezTo>
                    <a:pt x="11" y="50"/>
                    <a:pt x="23" y="61"/>
                    <a:pt x="37" y="61"/>
                  </a:cubicBezTo>
                  <a:cubicBezTo>
                    <a:pt x="51" y="61"/>
                    <a:pt x="62" y="50"/>
                    <a:pt x="62" y="36"/>
                  </a:cubicBezTo>
                  <a:cubicBezTo>
                    <a:pt x="62" y="22"/>
                    <a:pt x="51" y="11"/>
                    <a:pt x="3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81" name="Shape63_20200717_142846">
            <a:extLst>
              <a:ext uri="{FF2B5EF4-FFF2-40B4-BE49-F238E27FC236}">
                <a16:creationId xmlns:a16="http://schemas.microsoft.com/office/drawing/2014/main" id="{76AF93AE-BD07-1897-2D8F-959C41DC66A1}"/>
              </a:ext>
            </a:extLst>
          </p:cNvPr>
          <p:cNvGrpSpPr>
            <a:grpSpLocks noChangeAspect="1"/>
          </p:cNvGrpSpPr>
          <p:nvPr/>
        </p:nvGrpSpPr>
        <p:grpSpPr>
          <a:xfrm>
            <a:off x="3227010" y="5263901"/>
            <a:ext cx="515756" cy="352632"/>
            <a:chOff x="860422" y="2209772"/>
            <a:chExt cx="341313" cy="233360"/>
          </a:xfrm>
          <a:solidFill>
            <a:schemeClr val="accent1"/>
          </a:solidFill>
        </p:grpSpPr>
        <p:sp>
          <p:nvSpPr>
            <p:cNvPr id="82" name="Freeform 439">
              <a:extLst>
                <a:ext uri="{FF2B5EF4-FFF2-40B4-BE49-F238E27FC236}">
                  <a16:creationId xmlns:a16="http://schemas.microsoft.com/office/drawing/2014/main" id="{DC425951-B0D7-4D8E-FFE3-8E53827633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0423" y="2209772"/>
              <a:ext cx="341312" cy="233360"/>
            </a:xfrm>
            <a:custGeom>
              <a:avLst/>
              <a:gdLst>
                <a:gd name="T0" fmla="*/ 136 w 151"/>
                <a:gd name="T1" fmla="*/ 103 h 103"/>
                <a:gd name="T2" fmla="*/ 15 w 151"/>
                <a:gd name="T3" fmla="*/ 103 h 103"/>
                <a:gd name="T4" fmla="*/ 0 w 151"/>
                <a:gd name="T5" fmla="*/ 88 h 103"/>
                <a:gd name="T6" fmla="*/ 0 w 151"/>
                <a:gd name="T7" fmla="*/ 15 h 103"/>
                <a:gd name="T8" fmla="*/ 15 w 151"/>
                <a:gd name="T9" fmla="*/ 0 h 103"/>
                <a:gd name="T10" fmla="*/ 136 w 151"/>
                <a:gd name="T11" fmla="*/ 0 h 103"/>
                <a:gd name="T12" fmla="*/ 151 w 151"/>
                <a:gd name="T13" fmla="*/ 15 h 103"/>
                <a:gd name="T14" fmla="*/ 151 w 151"/>
                <a:gd name="T15" fmla="*/ 88 h 103"/>
                <a:gd name="T16" fmla="*/ 136 w 151"/>
                <a:gd name="T17" fmla="*/ 103 h 103"/>
                <a:gd name="T18" fmla="*/ 15 w 151"/>
                <a:gd name="T19" fmla="*/ 5 h 103"/>
                <a:gd name="T20" fmla="*/ 5 w 151"/>
                <a:gd name="T21" fmla="*/ 15 h 103"/>
                <a:gd name="T22" fmla="*/ 5 w 151"/>
                <a:gd name="T23" fmla="*/ 88 h 103"/>
                <a:gd name="T24" fmla="*/ 15 w 151"/>
                <a:gd name="T25" fmla="*/ 98 h 103"/>
                <a:gd name="T26" fmla="*/ 136 w 151"/>
                <a:gd name="T27" fmla="*/ 98 h 103"/>
                <a:gd name="T28" fmla="*/ 146 w 151"/>
                <a:gd name="T29" fmla="*/ 88 h 103"/>
                <a:gd name="T30" fmla="*/ 146 w 151"/>
                <a:gd name="T31" fmla="*/ 15 h 103"/>
                <a:gd name="T32" fmla="*/ 136 w 151"/>
                <a:gd name="T33" fmla="*/ 5 h 103"/>
                <a:gd name="T34" fmla="*/ 15 w 151"/>
                <a:gd name="T35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1" h="103">
                  <a:moveTo>
                    <a:pt x="136" y="103"/>
                  </a:moveTo>
                  <a:cubicBezTo>
                    <a:pt x="15" y="103"/>
                    <a:pt x="15" y="103"/>
                    <a:pt x="15" y="103"/>
                  </a:cubicBezTo>
                  <a:cubicBezTo>
                    <a:pt x="7" y="103"/>
                    <a:pt x="0" y="96"/>
                    <a:pt x="0" y="8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4" y="0"/>
                    <a:pt x="151" y="7"/>
                    <a:pt x="151" y="15"/>
                  </a:cubicBezTo>
                  <a:cubicBezTo>
                    <a:pt x="151" y="88"/>
                    <a:pt x="151" y="88"/>
                    <a:pt x="151" y="88"/>
                  </a:cubicBezTo>
                  <a:cubicBezTo>
                    <a:pt x="151" y="96"/>
                    <a:pt x="144" y="103"/>
                    <a:pt x="136" y="103"/>
                  </a:cubicBezTo>
                  <a:close/>
                  <a:moveTo>
                    <a:pt x="15" y="5"/>
                  </a:moveTo>
                  <a:cubicBezTo>
                    <a:pt x="9" y="5"/>
                    <a:pt x="5" y="10"/>
                    <a:pt x="5" y="15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5" y="93"/>
                    <a:pt x="9" y="98"/>
                    <a:pt x="15" y="98"/>
                  </a:cubicBezTo>
                  <a:cubicBezTo>
                    <a:pt x="136" y="98"/>
                    <a:pt x="136" y="98"/>
                    <a:pt x="136" y="98"/>
                  </a:cubicBezTo>
                  <a:cubicBezTo>
                    <a:pt x="142" y="98"/>
                    <a:pt x="146" y="93"/>
                    <a:pt x="146" y="88"/>
                  </a:cubicBezTo>
                  <a:cubicBezTo>
                    <a:pt x="146" y="15"/>
                    <a:pt x="146" y="15"/>
                    <a:pt x="146" y="15"/>
                  </a:cubicBezTo>
                  <a:cubicBezTo>
                    <a:pt x="146" y="10"/>
                    <a:pt x="142" y="5"/>
                    <a:pt x="136" y="5"/>
                  </a:cubicBezTo>
                  <a:lnTo>
                    <a:pt x="15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3" name="Freeform 440">
              <a:extLst>
                <a:ext uri="{FF2B5EF4-FFF2-40B4-BE49-F238E27FC236}">
                  <a16:creationId xmlns:a16="http://schemas.microsoft.com/office/drawing/2014/main" id="{E95BAFA3-0843-AFB9-4C3F-DB224406B9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0422" y="2244701"/>
              <a:ext cx="341312" cy="55563"/>
            </a:xfrm>
            <a:custGeom>
              <a:avLst/>
              <a:gdLst>
                <a:gd name="T0" fmla="*/ 149 w 151"/>
                <a:gd name="T1" fmla="*/ 25 h 25"/>
                <a:gd name="T2" fmla="*/ 2 w 151"/>
                <a:gd name="T3" fmla="*/ 25 h 25"/>
                <a:gd name="T4" fmla="*/ 0 w 151"/>
                <a:gd name="T5" fmla="*/ 22 h 25"/>
                <a:gd name="T6" fmla="*/ 0 w 151"/>
                <a:gd name="T7" fmla="*/ 3 h 25"/>
                <a:gd name="T8" fmla="*/ 2 w 151"/>
                <a:gd name="T9" fmla="*/ 0 h 25"/>
                <a:gd name="T10" fmla="*/ 149 w 151"/>
                <a:gd name="T11" fmla="*/ 0 h 25"/>
                <a:gd name="T12" fmla="*/ 151 w 151"/>
                <a:gd name="T13" fmla="*/ 3 h 25"/>
                <a:gd name="T14" fmla="*/ 151 w 151"/>
                <a:gd name="T15" fmla="*/ 22 h 25"/>
                <a:gd name="T16" fmla="*/ 149 w 151"/>
                <a:gd name="T17" fmla="*/ 25 h 25"/>
                <a:gd name="T18" fmla="*/ 5 w 151"/>
                <a:gd name="T19" fmla="*/ 20 h 25"/>
                <a:gd name="T20" fmla="*/ 146 w 151"/>
                <a:gd name="T21" fmla="*/ 20 h 25"/>
                <a:gd name="T22" fmla="*/ 146 w 151"/>
                <a:gd name="T23" fmla="*/ 5 h 25"/>
                <a:gd name="T24" fmla="*/ 5 w 151"/>
                <a:gd name="T25" fmla="*/ 5 h 25"/>
                <a:gd name="T26" fmla="*/ 5 w 151"/>
                <a:gd name="T27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1" h="25">
                  <a:moveTo>
                    <a:pt x="149" y="25"/>
                  </a:moveTo>
                  <a:cubicBezTo>
                    <a:pt x="2" y="25"/>
                    <a:pt x="2" y="25"/>
                    <a:pt x="2" y="25"/>
                  </a:cubicBezTo>
                  <a:cubicBezTo>
                    <a:pt x="1" y="25"/>
                    <a:pt x="0" y="24"/>
                    <a:pt x="0" y="2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0" y="0"/>
                    <a:pt x="151" y="2"/>
                    <a:pt x="151" y="3"/>
                  </a:cubicBezTo>
                  <a:cubicBezTo>
                    <a:pt x="151" y="22"/>
                    <a:pt x="151" y="22"/>
                    <a:pt x="151" y="22"/>
                  </a:cubicBezTo>
                  <a:cubicBezTo>
                    <a:pt x="151" y="24"/>
                    <a:pt x="150" y="25"/>
                    <a:pt x="149" y="25"/>
                  </a:cubicBezTo>
                  <a:close/>
                  <a:moveTo>
                    <a:pt x="5" y="20"/>
                  </a:moveTo>
                  <a:cubicBezTo>
                    <a:pt x="146" y="20"/>
                    <a:pt x="146" y="20"/>
                    <a:pt x="146" y="20"/>
                  </a:cubicBezTo>
                  <a:cubicBezTo>
                    <a:pt x="146" y="5"/>
                    <a:pt x="146" y="5"/>
                    <a:pt x="146" y="5"/>
                  </a:cubicBezTo>
                  <a:cubicBezTo>
                    <a:pt x="5" y="5"/>
                    <a:pt x="5" y="5"/>
                    <a:pt x="5" y="5"/>
                  </a:cubicBezTo>
                  <a:lnTo>
                    <a:pt x="5" y="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441">
              <a:extLst>
                <a:ext uri="{FF2B5EF4-FFF2-40B4-BE49-F238E27FC236}">
                  <a16:creationId xmlns:a16="http://schemas.microsoft.com/office/drawing/2014/main" id="{16B4B5F7-9E3A-25E6-C6AE-CB74A04AAF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1695" y="2362185"/>
              <a:ext cx="49213" cy="47625"/>
            </a:xfrm>
            <a:custGeom>
              <a:avLst/>
              <a:gdLst>
                <a:gd name="T0" fmla="*/ 11 w 22"/>
                <a:gd name="T1" fmla="*/ 21 h 21"/>
                <a:gd name="T2" fmla="*/ 0 w 22"/>
                <a:gd name="T3" fmla="*/ 10 h 21"/>
                <a:gd name="T4" fmla="*/ 11 w 22"/>
                <a:gd name="T5" fmla="*/ 0 h 21"/>
                <a:gd name="T6" fmla="*/ 22 w 22"/>
                <a:gd name="T7" fmla="*/ 10 h 21"/>
                <a:gd name="T8" fmla="*/ 11 w 22"/>
                <a:gd name="T9" fmla="*/ 21 h 21"/>
                <a:gd name="T10" fmla="*/ 11 w 22"/>
                <a:gd name="T11" fmla="*/ 4 h 21"/>
                <a:gd name="T12" fmla="*/ 5 w 22"/>
                <a:gd name="T13" fmla="*/ 10 h 21"/>
                <a:gd name="T14" fmla="*/ 11 w 22"/>
                <a:gd name="T15" fmla="*/ 16 h 21"/>
                <a:gd name="T16" fmla="*/ 17 w 22"/>
                <a:gd name="T17" fmla="*/ 10 h 21"/>
                <a:gd name="T18" fmla="*/ 11 w 22"/>
                <a:gd name="T19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1">
                  <a:moveTo>
                    <a:pt x="11" y="21"/>
                  </a:moveTo>
                  <a:cubicBezTo>
                    <a:pt x="5" y="21"/>
                    <a:pt x="0" y="16"/>
                    <a:pt x="0" y="10"/>
                  </a:cubicBezTo>
                  <a:cubicBezTo>
                    <a:pt x="0" y="4"/>
                    <a:pt x="5" y="0"/>
                    <a:pt x="11" y="0"/>
                  </a:cubicBezTo>
                  <a:cubicBezTo>
                    <a:pt x="17" y="0"/>
                    <a:pt x="22" y="4"/>
                    <a:pt x="22" y="10"/>
                  </a:cubicBezTo>
                  <a:cubicBezTo>
                    <a:pt x="22" y="16"/>
                    <a:pt x="17" y="21"/>
                    <a:pt x="11" y="21"/>
                  </a:cubicBezTo>
                  <a:close/>
                  <a:moveTo>
                    <a:pt x="11" y="4"/>
                  </a:moveTo>
                  <a:cubicBezTo>
                    <a:pt x="8" y="4"/>
                    <a:pt x="5" y="7"/>
                    <a:pt x="5" y="10"/>
                  </a:cubicBezTo>
                  <a:cubicBezTo>
                    <a:pt x="5" y="13"/>
                    <a:pt x="8" y="16"/>
                    <a:pt x="11" y="16"/>
                  </a:cubicBezTo>
                  <a:cubicBezTo>
                    <a:pt x="14" y="16"/>
                    <a:pt x="17" y="13"/>
                    <a:pt x="17" y="10"/>
                  </a:cubicBezTo>
                  <a:cubicBezTo>
                    <a:pt x="17" y="7"/>
                    <a:pt x="14" y="4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5" name="Freeform 442">
              <a:extLst>
                <a:ext uri="{FF2B5EF4-FFF2-40B4-BE49-F238E27FC236}">
                  <a16:creationId xmlns:a16="http://schemas.microsoft.com/office/drawing/2014/main" id="{5D312C3F-2CD9-F8D6-95B8-FF5CC12B7C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9800" y="2362200"/>
              <a:ext cx="47625" cy="47625"/>
            </a:xfrm>
            <a:custGeom>
              <a:avLst/>
              <a:gdLst>
                <a:gd name="T0" fmla="*/ 10 w 21"/>
                <a:gd name="T1" fmla="*/ 21 h 21"/>
                <a:gd name="T2" fmla="*/ 0 w 21"/>
                <a:gd name="T3" fmla="*/ 10 h 21"/>
                <a:gd name="T4" fmla="*/ 10 w 21"/>
                <a:gd name="T5" fmla="*/ 0 h 21"/>
                <a:gd name="T6" fmla="*/ 21 w 21"/>
                <a:gd name="T7" fmla="*/ 10 h 21"/>
                <a:gd name="T8" fmla="*/ 10 w 21"/>
                <a:gd name="T9" fmla="*/ 21 h 21"/>
                <a:gd name="T10" fmla="*/ 10 w 21"/>
                <a:gd name="T11" fmla="*/ 4 h 21"/>
                <a:gd name="T12" fmla="*/ 5 w 21"/>
                <a:gd name="T13" fmla="*/ 10 h 21"/>
                <a:gd name="T14" fmla="*/ 10 w 21"/>
                <a:gd name="T15" fmla="*/ 16 h 21"/>
                <a:gd name="T16" fmla="*/ 16 w 21"/>
                <a:gd name="T17" fmla="*/ 10 h 21"/>
                <a:gd name="T18" fmla="*/ 10 w 21"/>
                <a:gd name="T19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21">
                  <a:moveTo>
                    <a:pt x="10" y="21"/>
                  </a:moveTo>
                  <a:cubicBezTo>
                    <a:pt x="4" y="21"/>
                    <a:pt x="0" y="16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1" y="4"/>
                    <a:pt x="21" y="10"/>
                  </a:cubicBezTo>
                  <a:cubicBezTo>
                    <a:pt x="21" y="16"/>
                    <a:pt x="16" y="21"/>
                    <a:pt x="10" y="21"/>
                  </a:cubicBezTo>
                  <a:close/>
                  <a:moveTo>
                    <a:pt x="10" y="4"/>
                  </a:moveTo>
                  <a:cubicBezTo>
                    <a:pt x="7" y="4"/>
                    <a:pt x="5" y="7"/>
                    <a:pt x="5" y="10"/>
                  </a:cubicBezTo>
                  <a:cubicBezTo>
                    <a:pt x="5" y="13"/>
                    <a:pt x="7" y="16"/>
                    <a:pt x="10" y="16"/>
                  </a:cubicBezTo>
                  <a:cubicBezTo>
                    <a:pt x="13" y="16"/>
                    <a:pt x="16" y="13"/>
                    <a:pt x="16" y="10"/>
                  </a:cubicBezTo>
                  <a:cubicBezTo>
                    <a:pt x="16" y="7"/>
                    <a:pt x="13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91" name="Shape40_20200717_142846">
            <a:extLst>
              <a:ext uri="{FF2B5EF4-FFF2-40B4-BE49-F238E27FC236}">
                <a16:creationId xmlns:a16="http://schemas.microsoft.com/office/drawing/2014/main" id="{1664C97C-819F-8712-5951-927DF50DECAB}"/>
              </a:ext>
            </a:extLst>
          </p:cNvPr>
          <p:cNvGrpSpPr>
            <a:grpSpLocks noChangeAspect="1"/>
          </p:cNvGrpSpPr>
          <p:nvPr/>
        </p:nvGrpSpPr>
        <p:grpSpPr>
          <a:xfrm>
            <a:off x="7140080" y="3838395"/>
            <a:ext cx="522947" cy="592523"/>
            <a:chOff x="-1317625" y="3349005"/>
            <a:chExt cx="346074" cy="392118"/>
          </a:xfrm>
          <a:solidFill>
            <a:schemeClr val="accent1"/>
          </a:solidFill>
        </p:grpSpPr>
        <p:sp>
          <p:nvSpPr>
            <p:cNvPr id="92" name="Freeform 1391">
              <a:extLst>
                <a:ext uri="{FF2B5EF4-FFF2-40B4-BE49-F238E27FC236}">
                  <a16:creationId xmlns:a16="http://schemas.microsoft.com/office/drawing/2014/main" id="{830DC249-13BC-87BF-B44F-FF0E595D93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317625" y="3585548"/>
              <a:ext cx="63500" cy="155575"/>
            </a:xfrm>
            <a:custGeom>
              <a:avLst/>
              <a:gdLst>
                <a:gd name="T0" fmla="*/ 56 w 61"/>
                <a:gd name="T1" fmla="*/ 150 h 150"/>
                <a:gd name="T2" fmla="*/ 6 w 61"/>
                <a:gd name="T3" fmla="*/ 150 h 150"/>
                <a:gd name="T4" fmla="*/ 0 w 61"/>
                <a:gd name="T5" fmla="*/ 145 h 150"/>
                <a:gd name="T6" fmla="*/ 0 w 61"/>
                <a:gd name="T7" fmla="*/ 5 h 150"/>
                <a:gd name="T8" fmla="*/ 6 w 61"/>
                <a:gd name="T9" fmla="*/ 0 h 150"/>
                <a:gd name="T10" fmla="*/ 56 w 61"/>
                <a:gd name="T11" fmla="*/ 0 h 150"/>
                <a:gd name="T12" fmla="*/ 61 w 61"/>
                <a:gd name="T13" fmla="*/ 5 h 150"/>
                <a:gd name="T14" fmla="*/ 61 w 61"/>
                <a:gd name="T15" fmla="*/ 145 h 150"/>
                <a:gd name="T16" fmla="*/ 56 w 61"/>
                <a:gd name="T17" fmla="*/ 150 h 150"/>
                <a:gd name="T18" fmla="*/ 11 w 61"/>
                <a:gd name="T19" fmla="*/ 139 h 150"/>
                <a:gd name="T20" fmla="*/ 50 w 61"/>
                <a:gd name="T21" fmla="*/ 139 h 150"/>
                <a:gd name="T22" fmla="*/ 50 w 61"/>
                <a:gd name="T23" fmla="*/ 11 h 150"/>
                <a:gd name="T24" fmla="*/ 11 w 61"/>
                <a:gd name="T25" fmla="*/ 11 h 150"/>
                <a:gd name="T26" fmla="*/ 11 w 61"/>
                <a:gd name="T27" fmla="*/ 13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50">
                  <a:moveTo>
                    <a:pt x="56" y="150"/>
                  </a:moveTo>
                  <a:cubicBezTo>
                    <a:pt x="6" y="150"/>
                    <a:pt x="6" y="150"/>
                    <a:pt x="6" y="150"/>
                  </a:cubicBezTo>
                  <a:cubicBezTo>
                    <a:pt x="3" y="150"/>
                    <a:pt x="0" y="148"/>
                    <a:pt x="0" y="14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9" y="0"/>
                    <a:pt x="61" y="2"/>
                    <a:pt x="61" y="5"/>
                  </a:cubicBezTo>
                  <a:cubicBezTo>
                    <a:pt x="61" y="145"/>
                    <a:pt x="61" y="145"/>
                    <a:pt x="61" y="145"/>
                  </a:cubicBezTo>
                  <a:cubicBezTo>
                    <a:pt x="61" y="148"/>
                    <a:pt x="59" y="150"/>
                    <a:pt x="56" y="150"/>
                  </a:cubicBezTo>
                  <a:close/>
                  <a:moveTo>
                    <a:pt x="11" y="139"/>
                  </a:moveTo>
                  <a:cubicBezTo>
                    <a:pt x="50" y="139"/>
                    <a:pt x="50" y="139"/>
                    <a:pt x="50" y="139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1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3" name="Freeform 1392">
              <a:extLst>
                <a:ext uri="{FF2B5EF4-FFF2-40B4-BE49-F238E27FC236}">
                  <a16:creationId xmlns:a16="http://schemas.microsoft.com/office/drawing/2014/main" id="{DAF19629-C294-82A8-B5C9-EA4714845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65238" y="3596660"/>
              <a:ext cx="220663" cy="60325"/>
            </a:xfrm>
            <a:custGeom>
              <a:avLst/>
              <a:gdLst>
                <a:gd name="T0" fmla="*/ 87 w 212"/>
                <a:gd name="T1" fmla="*/ 58 h 58"/>
                <a:gd name="T2" fmla="*/ 82 w 212"/>
                <a:gd name="T3" fmla="*/ 55 h 58"/>
                <a:gd name="T4" fmla="*/ 85 w 212"/>
                <a:gd name="T5" fmla="*/ 48 h 58"/>
                <a:gd name="T6" fmla="*/ 121 w 212"/>
                <a:gd name="T7" fmla="*/ 37 h 58"/>
                <a:gd name="T8" fmla="*/ 123 w 212"/>
                <a:gd name="T9" fmla="*/ 36 h 58"/>
                <a:gd name="T10" fmla="*/ 190 w 212"/>
                <a:gd name="T11" fmla="*/ 46 h 58"/>
                <a:gd name="T12" fmla="*/ 199 w 212"/>
                <a:gd name="T13" fmla="*/ 40 h 58"/>
                <a:gd name="T14" fmla="*/ 199 w 212"/>
                <a:gd name="T15" fmla="*/ 37 h 58"/>
                <a:gd name="T16" fmla="*/ 194 w 212"/>
                <a:gd name="T17" fmla="*/ 28 h 58"/>
                <a:gd name="T18" fmla="*/ 123 w 212"/>
                <a:gd name="T19" fmla="*/ 12 h 58"/>
                <a:gd name="T20" fmla="*/ 114 w 212"/>
                <a:gd name="T21" fmla="*/ 11 h 58"/>
                <a:gd name="T22" fmla="*/ 7 w 212"/>
                <a:gd name="T23" fmla="*/ 31 h 58"/>
                <a:gd name="T24" fmla="*/ 0 w 212"/>
                <a:gd name="T25" fmla="*/ 27 h 58"/>
                <a:gd name="T26" fmla="*/ 5 w 212"/>
                <a:gd name="T27" fmla="*/ 21 h 58"/>
                <a:gd name="T28" fmla="*/ 112 w 212"/>
                <a:gd name="T29" fmla="*/ 1 h 58"/>
                <a:gd name="T30" fmla="*/ 126 w 212"/>
                <a:gd name="T31" fmla="*/ 1 h 58"/>
                <a:gd name="T32" fmla="*/ 196 w 212"/>
                <a:gd name="T33" fmla="*/ 18 h 58"/>
                <a:gd name="T34" fmla="*/ 210 w 212"/>
                <a:gd name="T35" fmla="*/ 40 h 58"/>
                <a:gd name="T36" fmla="*/ 209 w 212"/>
                <a:gd name="T37" fmla="*/ 42 h 58"/>
                <a:gd name="T38" fmla="*/ 189 w 212"/>
                <a:gd name="T39" fmla="*/ 57 h 58"/>
                <a:gd name="T40" fmla="*/ 123 w 212"/>
                <a:gd name="T41" fmla="*/ 48 h 58"/>
                <a:gd name="T42" fmla="*/ 89 w 212"/>
                <a:gd name="T43" fmla="*/ 58 h 58"/>
                <a:gd name="T44" fmla="*/ 87 w 212"/>
                <a:gd name="T4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2" h="58">
                  <a:moveTo>
                    <a:pt x="87" y="58"/>
                  </a:moveTo>
                  <a:cubicBezTo>
                    <a:pt x="85" y="58"/>
                    <a:pt x="82" y="57"/>
                    <a:pt x="82" y="55"/>
                  </a:cubicBezTo>
                  <a:cubicBezTo>
                    <a:pt x="81" y="52"/>
                    <a:pt x="82" y="49"/>
                    <a:pt x="85" y="48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22" y="36"/>
                    <a:pt x="123" y="36"/>
                    <a:pt x="123" y="36"/>
                  </a:cubicBezTo>
                  <a:cubicBezTo>
                    <a:pt x="190" y="46"/>
                    <a:pt x="190" y="46"/>
                    <a:pt x="190" y="46"/>
                  </a:cubicBezTo>
                  <a:cubicBezTo>
                    <a:pt x="194" y="46"/>
                    <a:pt x="198" y="44"/>
                    <a:pt x="199" y="40"/>
                  </a:cubicBezTo>
                  <a:cubicBezTo>
                    <a:pt x="199" y="37"/>
                    <a:pt x="199" y="37"/>
                    <a:pt x="199" y="37"/>
                  </a:cubicBezTo>
                  <a:cubicBezTo>
                    <a:pt x="200" y="33"/>
                    <a:pt x="198" y="29"/>
                    <a:pt x="194" y="28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120" y="11"/>
                    <a:pt x="117" y="11"/>
                    <a:pt x="114" y="1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4" y="32"/>
                    <a:pt x="1" y="30"/>
                    <a:pt x="0" y="27"/>
                  </a:cubicBezTo>
                  <a:cubicBezTo>
                    <a:pt x="0" y="24"/>
                    <a:pt x="2" y="21"/>
                    <a:pt x="5" y="21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7" y="0"/>
                    <a:pt x="121" y="0"/>
                    <a:pt x="126" y="1"/>
                  </a:cubicBezTo>
                  <a:cubicBezTo>
                    <a:pt x="196" y="18"/>
                    <a:pt x="196" y="18"/>
                    <a:pt x="196" y="18"/>
                  </a:cubicBezTo>
                  <a:cubicBezTo>
                    <a:pt x="206" y="20"/>
                    <a:pt x="212" y="30"/>
                    <a:pt x="210" y="40"/>
                  </a:cubicBezTo>
                  <a:cubicBezTo>
                    <a:pt x="209" y="42"/>
                    <a:pt x="209" y="42"/>
                    <a:pt x="209" y="42"/>
                  </a:cubicBezTo>
                  <a:cubicBezTo>
                    <a:pt x="207" y="52"/>
                    <a:pt x="198" y="58"/>
                    <a:pt x="189" y="57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89" y="58"/>
                    <a:pt x="89" y="58"/>
                    <a:pt x="89" y="58"/>
                  </a:cubicBezTo>
                  <a:cubicBezTo>
                    <a:pt x="88" y="58"/>
                    <a:pt x="87" y="58"/>
                    <a:pt x="87" y="5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4" name="Freeform 1393">
              <a:extLst>
                <a:ext uri="{FF2B5EF4-FFF2-40B4-BE49-F238E27FC236}">
                  <a16:creationId xmlns:a16="http://schemas.microsoft.com/office/drawing/2014/main" id="{34615D09-79A6-A035-1B9B-FF6DE7351D2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65239" y="3645870"/>
              <a:ext cx="293688" cy="66675"/>
            </a:xfrm>
            <a:custGeom>
              <a:avLst/>
              <a:gdLst>
                <a:gd name="T0" fmla="*/ 82 w 283"/>
                <a:gd name="T1" fmla="*/ 65 h 65"/>
                <a:gd name="T2" fmla="*/ 5 w 283"/>
                <a:gd name="T3" fmla="*/ 60 h 65"/>
                <a:gd name="T4" fmla="*/ 0 w 283"/>
                <a:gd name="T5" fmla="*/ 54 h 65"/>
                <a:gd name="T6" fmla="*/ 6 w 283"/>
                <a:gd name="T7" fmla="*/ 50 h 65"/>
                <a:gd name="T8" fmla="*/ 252 w 283"/>
                <a:gd name="T9" fmla="*/ 31 h 65"/>
                <a:gd name="T10" fmla="*/ 265 w 283"/>
                <a:gd name="T11" fmla="*/ 28 h 65"/>
                <a:gd name="T12" fmla="*/ 271 w 283"/>
                <a:gd name="T13" fmla="*/ 21 h 65"/>
                <a:gd name="T14" fmla="*/ 267 w 283"/>
                <a:gd name="T15" fmla="*/ 13 h 65"/>
                <a:gd name="T16" fmla="*/ 263 w 283"/>
                <a:gd name="T17" fmla="*/ 12 h 65"/>
                <a:gd name="T18" fmla="*/ 189 w 283"/>
                <a:gd name="T19" fmla="*/ 11 h 65"/>
                <a:gd name="T20" fmla="*/ 184 w 283"/>
                <a:gd name="T21" fmla="*/ 5 h 65"/>
                <a:gd name="T22" fmla="*/ 190 w 283"/>
                <a:gd name="T23" fmla="*/ 0 h 65"/>
                <a:gd name="T24" fmla="*/ 263 w 283"/>
                <a:gd name="T25" fmla="*/ 2 h 65"/>
                <a:gd name="T26" fmla="*/ 263 w 283"/>
                <a:gd name="T27" fmla="*/ 2 h 65"/>
                <a:gd name="T28" fmla="*/ 272 w 283"/>
                <a:gd name="T29" fmla="*/ 4 h 65"/>
                <a:gd name="T30" fmla="*/ 282 w 283"/>
                <a:gd name="T31" fmla="*/ 22 h 65"/>
                <a:gd name="T32" fmla="*/ 268 w 283"/>
                <a:gd name="T33" fmla="*/ 38 h 65"/>
                <a:gd name="T34" fmla="*/ 255 w 283"/>
                <a:gd name="T35" fmla="*/ 42 h 65"/>
                <a:gd name="T36" fmla="*/ 82 w 283"/>
                <a:gd name="T3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3" h="65">
                  <a:moveTo>
                    <a:pt x="82" y="65"/>
                  </a:moveTo>
                  <a:cubicBezTo>
                    <a:pt x="57" y="65"/>
                    <a:pt x="31" y="63"/>
                    <a:pt x="5" y="60"/>
                  </a:cubicBezTo>
                  <a:cubicBezTo>
                    <a:pt x="2" y="60"/>
                    <a:pt x="0" y="57"/>
                    <a:pt x="0" y="54"/>
                  </a:cubicBezTo>
                  <a:cubicBezTo>
                    <a:pt x="1" y="51"/>
                    <a:pt x="3" y="49"/>
                    <a:pt x="6" y="50"/>
                  </a:cubicBezTo>
                  <a:cubicBezTo>
                    <a:pt x="89" y="59"/>
                    <a:pt x="172" y="53"/>
                    <a:pt x="252" y="31"/>
                  </a:cubicBezTo>
                  <a:cubicBezTo>
                    <a:pt x="265" y="28"/>
                    <a:pt x="265" y="28"/>
                    <a:pt x="265" y="28"/>
                  </a:cubicBezTo>
                  <a:cubicBezTo>
                    <a:pt x="270" y="26"/>
                    <a:pt x="271" y="22"/>
                    <a:pt x="271" y="21"/>
                  </a:cubicBezTo>
                  <a:cubicBezTo>
                    <a:pt x="271" y="20"/>
                    <a:pt x="271" y="16"/>
                    <a:pt x="267" y="13"/>
                  </a:cubicBezTo>
                  <a:cubicBezTo>
                    <a:pt x="266" y="13"/>
                    <a:pt x="265" y="12"/>
                    <a:pt x="263" y="12"/>
                  </a:cubicBezTo>
                  <a:cubicBezTo>
                    <a:pt x="189" y="11"/>
                    <a:pt x="189" y="11"/>
                    <a:pt x="189" y="11"/>
                  </a:cubicBezTo>
                  <a:cubicBezTo>
                    <a:pt x="186" y="11"/>
                    <a:pt x="184" y="8"/>
                    <a:pt x="184" y="5"/>
                  </a:cubicBezTo>
                  <a:cubicBezTo>
                    <a:pt x="184" y="2"/>
                    <a:pt x="186" y="0"/>
                    <a:pt x="190" y="0"/>
                  </a:cubicBezTo>
                  <a:cubicBezTo>
                    <a:pt x="263" y="2"/>
                    <a:pt x="263" y="2"/>
                    <a:pt x="263" y="2"/>
                  </a:cubicBezTo>
                  <a:cubicBezTo>
                    <a:pt x="263" y="2"/>
                    <a:pt x="263" y="2"/>
                    <a:pt x="263" y="2"/>
                  </a:cubicBezTo>
                  <a:cubicBezTo>
                    <a:pt x="266" y="2"/>
                    <a:pt x="269" y="2"/>
                    <a:pt x="272" y="4"/>
                  </a:cubicBezTo>
                  <a:cubicBezTo>
                    <a:pt x="279" y="7"/>
                    <a:pt x="283" y="15"/>
                    <a:pt x="282" y="22"/>
                  </a:cubicBezTo>
                  <a:cubicBezTo>
                    <a:pt x="281" y="30"/>
                    <a:pt x="276" y="36"/>
                    <a:pt x="268" y="38"/>
                  </a:cubicBezTo>
                  <a:cubicBezTo>
                    <a:pt x="255" y="42"/>
                    <a:pt x="255" y="42"/>
                    <a:pt x="255" y="42"/>
                  </a:cubicBezTo>
                  <a:cubicBezTo>
                    <a:pt x="198" y="57"/>
                    <a:pt x="140" y="65"/>
                    <a:pt x="82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5" name="Freeform 1394">
              <a:extLst>
                <a:ext uri="{FF2B5EF4-FFF2-40B4-BE49-F238E27FC236}">
                  <a16:creationId xmlns:a16="http://schemas.microsoft.com/office/drawing/2014/main" id="{DACD75ED-41B1-D8E5-DFB4-F34DD3E45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74751" y="3391870"/>
              <a:ext cx="60325" cy="90488"/>
            </a:xfrm>
            <a:custGeom>
              <a:avLst/>
              <a:gdLst>
                <a:gd name="T0" fmla="*/ 29 w 59"/>
                <a:gd name="T1" fmla="*/ 86 h 86"/>
                <a:gd name="T2" fmla="*/ 1 w 59"/>
                <a:gd name="T3" fmla="*/ 72 h 86"/>
                <a:gd name="T4" fmla="*/ 2 w 59"/>
                <a:gd name="T5" fmla="*/ 65 h 86"/>
                <a:gd name="T6" fmla="*/ 10 w 59"/>
                <a:gd name="T7" fmla="*/ 66 h 86"/>
                <a:gd name="T8" fmla="*/ 41 w 59"/>
                <a:gd name="T9" fmla="*/ 72 h 86"/>
                <a:gd name="T10" fmla="*/ 41 w 59"/>
                <a:gd name="T11" fmla="*/ 72 h 86"/>
                <a:gd name="T12" fmla="*/ 47 w 59"/>
                <a:gd name="T13" fmla="*/ 61 h 86"/>
                <a:gd name="T14" fmla="*/ 37 w 59"/>
                <a:gd name="T15" fmla="*/ 49 h 86"/>
                <a:gd name="T16" fmla="*/ 18 w 59"/>
                <a:gd name="T17" fmla="*/ 44 h 86"/>
                <a:gd name="T18" fmla="*/ 1 w 59"/>
                <a:gd name="T19" fmla="*/ 22 h 86"/>
                <a:gd name="T20" fmla="*/ 8 w 59"/>
                <a:gd name="T21" fmla="*/ 7 h 86"/>
                <a:gd name="T22" fmla="*/ 30 w 59"/>
                <a:gd name="T23" fmla="*/ 0 h 86"/>
                <a:gd name="T24" fmla="*/ 58 w 59"/>
                <a:gd name="T25" fmla="*/ 20 h 86"/>
                <a:gd name="T26" fmla="*/ 54 w 59"/>
                <a:gd name="T27" fmla="*/ 26 h 86"/>
                <a:gd name="T28" fmla="*/ 47 w 59"/>
                <a:gd name="T29" fmla="*/ 23 h 86"/>
                <a:gd name="T30" fmla="*/ 30 w 59"/>
                <a:gd name="T31" fmla="*/ 11 h 86"/>
                <a:gd name="T32" fmla="*/ 15 w 59"/>
                <a:gd name="T33" fmla="*/ 15 h 86"/>
                <a:gd name="T34" fmla="*/ 12 w 59"/>
                <a:gd name="T35" fmla="*/ 22 h 86"/>
                <a:gd name="T36" fmla="*/ 21 w 59"/>
                <a:gd name="T37" fmla="*/ 33 h 86"/>
                <a:gd name="T38" fmla="*/ 41 w 59"/>
                <a:gd name="T39" fmla="*/ 39 h 86"/>
                <a:gd name="T40" fmla="*/ 58 w 59"/>
                <a:gd name="T41" fmla="*/ 60 h 86"/>
                <a:gd name="T42" fmla="*/ 45 w 59"/>
                <a:gd name="T43" fmla="*/ 82 h 86"/>
                <a:gd name="T44" fmla="*/ 29 w 59"/>
                <a:gd name="T4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9" h="86">
                  <a:moveTo>
                    <a:pt x="29" y="86"/>
                  </a:moveTo>
                  <a:cubicBezTo>
                    <a:pt x="20" y="86"/>
                    <a:pt x="10" y="83"/>
                    <a:pt x="1" y="72"/>
                  </a:cubicBezTo>
                  <a:cubicBezTo>
                    <a:pt x="0" y="70"/>
                    <a:pt x="0" y="67"/>
                    <a:pt x="2" y="65"/>
                  </a:cubicBezTo>
                  <a:cubicBezTo>
                    <a:pt x="5" y="63"/>
                    <a:pt x="8" y="63"/>
                    <a:pt x="10" y="66"/>
                  </a:cubicBezTo>
                  <a:cubicBezTo>
                    <a:pt x="22" y="82"/>
                    <a:pt x="40" y="73"/>
                    <a:pt x="41" y="72"/>
                  </a:cubicBezTo>
                  <a:cubicBezTo>
                    <a:pt x="41" y="72"/>
                    <a:pt x="41" y="72"/>
                    <a:pt x="41" y="72"/>
                  </a:cubicBezTo>
                  <a:cubicBezTo>
                    <a:pt x="42" y="72"/>
                    <a:pt x="48" y="69"/>
                    <a:pt x="47" y="61"/>
                  </a:cubicBezTo>
                  <a:cubicBezTo>
                    <a:pt x="46" y="52"/>
                    <a:pt x="38" y="49"/>
                    <a:pt x="37" y="49"/>
                  </a:cubicBezTo>
                  <a:cubicBezTo>
                    <a:pt x="37" y="49"/>
                    <a:pt x="27" y="46"/>
                    <a:pt x="18" y="44"/>
                  </a:cubicBezTo>
                  <a:cubicBezTo>
                    <a:pt x="4" y="39"/>
                    <a:pt x="1" y="30"/>
                    <a:pt x="1" y="22"/>
                  </a:cubicBezTo>
                  <a:cubicBezTo>
                    <a:pt x="1" y="16"/>
                    <a:pt x="3" y="11"/>
                    <a:pt x="8" y="7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48" y="0"/>
                    <a:pt x="56" y="13"/>
                    <a:pt x="58" y="20"/>
                  </a:cubicBezTo>
                  <a:cubicBezTo>
                    <a:pt x="59" y="22"/>
                    <a:pt x="57" y="26"/>
                    <a:pt x="54" y="26"/>
                  </a:cubicBezTo>
                  <a:cubicBezTo>
                    <a:pt x="51" y="27"/>
                    <a:pt x="48" y="26"/>
                    <a:pt x="47" y="23"/>
                  </a:cubicBezTo>
                  <a:cubicBezTo>
                    <a:pt x="47" y="21"/>
                    <a:pt x="43" y="11"/>
                    <a:pt x="30" y="11"/>
                  </a:cubicBezTo>
                  <a:cubicBezTo>
                    <a:pt x="23" y="11"/>
                    <a:pt x="18" y="12"/>
                    <a:pt x="15" y="15"/>
                  </a:cubicBezTo>
                  <a:cubicBezTo>
                    <a:pt x="13" y="17"/>
                    <a:pt x="12" y="19"/>
                    <a:pt x="12" y="22"/>
                  </a:cubicBezTo>
                  <a:cubicBezTo>
                    <a:pt x="12" y="26"/>
                    <a:pt x="13" y="31"/>
                    <a:pt x="21" y="33"/>
                  </a:cubicBezTo>
                  <a:cubicBezTo>
                    <a:pt x="31" y="36"/>
                    <a:pt x="41" y="39"/>
                    <a:pt x="41" y="39"/>
                  </a:cubicBezTo>
                  <a:cubicBezTo>
                    <a:pt x="41" y="39"/>
                    <a:pt x="56" y="44"/>
                    <a:pt x="58" y="60"/>
                  </a:cubicBezTo>
                  <a:cubicBezTo>
                    <a:pt x="59" y="73"/>
                    <a:pt x="50" y="80"/>
                    <a:pt x="45" y="82"/>
                  </a:cubicBezTo>
                  <a:cubicBezTo>
                    <a:pt x="41" y="84"/>
                    <a:pt x="35" y="86"/>
                    <a:pt x="29" y="8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6" name="Freeform 1395">
              <a:extLst>
                <a:ext uri="{FF2B5EF4-FFF2-40B4-BE49-F238E27FC236}">
                  <a16:creationId xmlns:a16="http://schemas.microsoft.com/office/drawing/2014/main" id="{14B35706-E67A-5582-03B1-F896313D0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50939" y="3377582"/>
              <a:ext cx="12700" cy="26988"/>
            </a:xfrm>
            <a:custGeom>
              <a:avLst/>
              <a:gdLst>
                <a:gd name="T0" fmla="*/ 6 w 11"/>
                <a:gd name="T1" fmla="*/ 26 h 26"/>
                <a:gd name="T2" fmla="*/ 0 w 11"/>
                <a:gd name="T3" fmla="*/ 21 h 26"/>
                <a:gd name="T4" fmla="*/ 0 w 11"/>
                <a:gd name="T5" fmla="*/ 5 h 26"/>
                <a:gd name="T6" fmla="*/ 6 w 11"/>
                <a:gd name="T7" fmla="*/ 0 h 26"/>
                <a:gd name="T8" fmla="*/ 11 w 11"/>
                <a:gd name="T9" fmla="*/ 5 h 26"/>
                <a:gd name="T10" fmla="*/ 11 w 11"/>
                <a:gd name="T11" fmla="*/ 21 h 26"/>
                <a:gd name="T12" fmla="*/ 6 w 11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6" y="26"/>
                  </a:moveTo>
                  <a:cubicBezTo>
                    <a:pt x="3" y="26"/>
                    <a:pt x="0" y="24"/>
                    <a:pt x="0" y="2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4"/>
                    <a:pt x="9" y="26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7" name="Freeform 1396">
              <a:extLst>
                <a:ext uri="{FF2B5EF4-FFF2-40B4-BE49-F238E27FC236}">
                  <a16:creationId xmlns:a16="http://schemas.microsoft.com/office/drawing/2014/main" id="{092C2BEF-3148-7CE5-D9E7-E641BF064F1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50939" y="3471245"/>
              <a:ext cx="12700" cy="28575"/>
            </a:xfrm>
            <a:custGeom>
              <a:avLst/>
              <a:gdLst>
                <a:gd name="T0" fmla="*/ 6 w 11"/>
                <a:gd name="T1" fmla="*/ 27 h 27"/>
                <a:gd name="T2" fmla="*/ 0 w 11"/>
                <a:gd name="T3" fmla="*/ 21 h 27"/>
                <a:gd name="T4" fmla="*/ 0 w 11"/>
                <a:gd name="T5" fmla="*/ 6 h 27"/>
                <a:gd name="T6" fmla="*/ 6 w 11"/>
                <a:gd name="T7" fmla="*/ 0 h 27"/>
                <a:gd name="T8" fmla="*/ 11 w 11"/>
                <a:gd name="T9" fmla="*/ 6 h 27"/>
                <a:gd name="T10" fmla="*/ 11 w 11"/>
                <a:gd name="T11" fmla="*/ 21 h 27"/>
                <a:gd name="T12" fmla="*/ 6 w 11"/>
                <a:gd name="T1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7">
                  <a:moveTo>
                    <a:pt x="6" y="27"/>
                  </a:moveTo>
                  <a:cubicBezTo>
                    <a:pt x="3" y="27"/>
                    <a:pt x="0" y="24"/>
                    <a:pt x="0" y="2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4"/>
                    <a:pt x="9" y="27"/>
                    <a:pt x="6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8" name="Freeform 1397">
              <a:extLst>
                <a:ext uri="{FF2B5EF4-FFF2-40B4-BE49-F238E27FC236}">
                  <a16:creationId xmlns:a16="http://schemas.microsoft.com/office/drawing/2014/main" id="{1CE9F5A3-5F61-55ED-3DEA-099C5216F3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235075" y="3349005"/>
              <a:ext cx="180975" cy="182563"/>
            </a:xfrm>
            <a:custGeom>
              <a:avLst/>
              <a:gdLst>
                <a:gd name="T0" fmla="*/ 87 w 175"/>
                <a:gd name="T1" fmla="*/ 175 h 175"/>
                <a:gd name="T2" fmla="*/ 0 w 175"/>
                <a:gd name="T3" fmla="*/ 88 h 175"/>
                <a:gd name="T4" fmla="*/ 87 w 175"/>
                <a:gd name="T5" fmla="*/ 0 h 175"/>
                <a:gd name="T6" fmla="*/ 175 w 175"/>
                <a:gd name="T7" fmla="*/ 88 h 175"/>
                <a:gd name="T8" fmla="*/ 87 w 175"/>
                <a:gd name="T9" fmla="*/ 175 h 175"/>
                <a:gd name="T10" fmla="*/ 87 w 175"/>
                <a:gd name="T11" fmla="*/ 11 h 175"/>
                <a:gd name="T12" fmla="*/ 11 w 175"/>
                <a:gd name="T13" fmla="*/ 88 h 175"/>
                <a:gd name="T14" fmla="*/ 87 w 175"/>
                <a:gd name="T15" fmla="*/ 164 h 175"/>
                <a:gd name="T16" fmla="*/ 164 w 175"/>
                <a:gd name="T17" fmla="*/ 88 h 175"/>
                <a:gd name="T18" fmla="*/ 87 w 175"/>
                <a:gd name="T19" fmla="*/ 11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5" h="175">
                  <a:moveTo>
                    <a:pt x="87" y="175"/>
                  </a:moveTo>
                  <a:cubicBezTo>
                    <a:pt x="39" y="175"/>
                    <a:pt x="0" y="136"/>
                    <a:pt x="0" y="88"/>
                  </a:cubicBezTo>
                  <a:cubicBezTo>
                    <a:pt x="0" y="39"/>
                    <a:pt x="39" y="0"/>
                    <a:pt x="87" y="0"/>
                  </a:cubicBezTo>
                  <a:cubicBezTo>
                    <a:pt x="136" y="0"/>
                    <a:pt x="175" y="39"/>
                    <a:pt x="175" y="88"/>
                  </a:cubicBezTo>
                  <a:cubicBezTo>
                    <a:pt x="175" y="136"/>
                    <a:pt x="136" y="175"/>
                    <a:pt x="87" y="175"/>
                  </a:cubicBezTo>
                  <a:close/>
                  <a:moveTo>
                    <a:pt x="87" y="11"/>
                  </a:moveTo>
                  <a:cubicBezTo>
                    <a:pt x="45" y="11"/>
                    <a:pt x="11" y="45"/>
                    <a:pt x="11" y="88"/>
                  </a:cubicBezTo>
                  <a:cubicBezTo>
                    <a:pt x="11" y="130"/>
                    <a:pt x="45" y="164"/>
                    <a:pt x="87" y="164"/>
                  </a:cubicBezTo>
                  <a:cubicBezTo>
                    <a:pt x="129" y="164"/>
                    <a:pt x="164" y="130"/>
                    <a:pt x="164" y="88"/>
                  </a:cubicBezTo>
                  <a:cubicBezTo>
                    <a:pt x="164" y="45"/>
                    <a:pt x="129" y="11"/>
                    <a:pt x="8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99" name="Shape41_20200717_142846">
            <a:extLst>
              <a:ext uri="{FF2B5EF4-FFF2-40B4-BE49-F238E27FC236}">
                <a16:creationId xmlns:a16="http://schemas.microsoft.com/office/drawing/2014/main" id="{5E30DF7E-D0CF-4CD1-5773-D9A7646E7D26}"/>
              </a:ext>
            </a:extLst>
          </p:cNvPr>
          <p:cNvGrpSpPr>
            <a:grpSpLocks noChangeAspect="1"/>
          </p:cNvGrpSpPr>
          <p:nvPr/>
        </p:nvGrpSpPr>
        <p:grpSpPr>
          <a:xfrm>
            <a:off x="7274420" y="2535244"/>
            <a:ext cx="254278" cy="587713"/>
            <a:chOff x="-2701923" y="2556843"/>
            <a:chExt cx="168275" cy="388935"/>
          </a:xfrm>
          <a:solidFill>
            <a:schemeClr val="accent1"/>
          </a:solidFill>
        </p:grpSpPr>
        <p:sp>
          <p:nvSpPr>
            <p:cNvPr id="100" name="Freeform 1398">
              <a:extLst>
                <a:ext uri="{FF2B5EF4-FFF2-40B4-BE49-F238E27FC236}">
                  <a16:creationId xmlns:a16="http://schemas.microsoft.com/office/drawing/2014/main" id="{135E70C4-8301-35E0-8610-BF75D69A8A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24138" y="2860055"/>
              <a:ext cx="12700" cy="73025"/>
            </a:xfrm>
            <a:custGeom>
              <a:avLst/>
              <a:gdLst>
                <a:gd name="T0" fmla="*/ 6 w 11"/>
                <a:gd name="T1" fmla="*/ 70 h 70"/>
                <a:gd name="T2" fmla="*/ 0 w 11"/>
                <a:gd name="T3" fmla="*/ 64 h 70"/>
                <a:gd name="T4" fmla="*/ 0 w 11"/>
                <a:gd name="T5" fmla="*/ 5 h 70"/>
                <a:gd name="T6" fmla="*/ 6 w 11"/>
                <a:gd name="T7" fmla="*/ 0 h 70"/>
                <a:gd name="T8" fmla="*/ 11 w 11"/>
                <a:gd name="T9" fmla="*/ 5 h 70"/>
                <a:gd name="T10" fmla="*/ 11 w 11"/>
                <a:gd name="T11" fmla="*/ 64 h 70"/>
                <a:gd name="T12" fmla="*/ 6 w 11"/>
                <a:gd name="T1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0">
                  <a:moveTo>
                    <a:pt x="6" y="70"/>
                  </a:moveTo>
                  <a:cubicBezTo>
                    <a:pt x="3" y="70"/>
                    <a:pt x="0" y="67"/>
                    <a:pt x="0" y="6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1" y="67"/>
                    <a:pt x="9" y="70"/>
                    <a:pt x="6" y="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1" name="Freeform 1399">
              <a:extLst>
                <a:ext uri="{FF2B5EF4-FFF2-40B4-BE49-F238E27FC236}">
                  <a16:creationId xmlns:a16="http://schemas.microsoft.com/office/drawing/2014/main" id="{0E558C09-AE75-FB93-2D9E-2251DEB2A0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01923" y="2720353"/>
              <a:ext cx="168275" cy="225425"/>
            </a:xfrm>
            <a:custGeom>
              <a:avLst/>
              <a:gdLst>
                <a:gd name="T0" fmla="*/ 93 w 161"/>
                <a:gd name="T1" fmla="*/ 217 h 217"/>
                <a:gd name="T2" fmla="*/ 81 w 161"/>
                <a:gd name="T3" fmla="*/ 212 h 217"/>
                <a:gd name="T4" fmla="*/ 80 w 161"/>
                <a:gd name="T5" fmla="*/ 212 h 217"/>
                <a:gd name="T6" fmla="*/ 67 w 161"/>
                <a:gd name="T7" fmla="*/ 217 h 217"/>
                <a:gd name="T8" fmla="*/ 51 w 161"/>
                <a:gd name="T9" fmla="*/ 199 h 217"/>
                <a:gd name="T10" fmla="*/ 51 w 161"/>
                <a:gd name="T11" fmla="*/ 81 h 217"/>
                <a:gd name="T12" fmla="*/ 32 w 161"/>
                <a:gd name="T13" fmla="*/ 65 h 217"/>
                <a:gd name="T14" fmla="*/ 7 w 161"/>
                <a:gd name="T15" fmla="*/ 30 h 217"/>
                <a:gd name="T16" fmla="*/ 2 w 161"/>
                <a:gd name="T17" fmla="*/ 20 h 217"/>
                <a:gd name="T18" fmla="*/ 9 w 161"/>
                <a:gd name="T19" fmla="*/ 3 h 217"/>
                <a:gd name="T20" fmla="*/ 26 w 161"/>
                <a:gd name="T21" fmla="*/ 8 h 217"/>
                <a:gd name="T22" fmla="*/ 29 w 161"/>
                <a:gd name="T23" fmla="*/ 14 h 217"/>
                <a:gd name="T24" fmla="*/ 55 w 161"/>
                <a:gd name="T25" fmla="*/ 43 h 217"/>
                <a:gd name="T26" fmla="*/ 55 w 161"/>
                <a:gd name="T27" fmla="*/ 43 h 217"/>
                <a:gd name="T28" fmla="*/ 62 w 161"/>
                <a:gd name="T29" fmla="*/ 45 h 217"/>
                <a:gd name="T30" fmla="*/ 99 w 161"/>
                <a:gd name="T31" fmla="*/ 45 h 217"/>
                <a:gd name="T32" fmla="*/ 106 w 161"/>
                <a:gd name="T33" fmla="*/ 43 h 217"/>
                <a:gd name="T34" fmla="*/ 132 w 161"/>
                <a:gd name="T35" fmla="*/ 14 h 217"/>
                <a:gd name="T36" fmla="*/ 135 w 161"/>
                <a:gd name="T37" fmla="*/ 8 h 217"/>
                <a:gd name="T38" fmla="*/ 152 w 161"/>
                <a:gd name="T39" fmla="*/ 3 h 217"/>
                <a:gd name="T40" fmla="*/ 159 w 161"/>
                <a:gd name="T41" fmla="*/ 20 h 217"/>
                <a:gd name="T42" fmla="*/ 155 w 161"/>
                <a:gd name="T43" fmla="*/ 30 h 217"/>
                <a:gd name="T44" fmla="*/ 129 w 161"/>
                <a:gd name="T45" fmla="*/ 65 h 217"/>
                <a:gd name="T46" fmla="*/ 111 w 161"/>
                <a:gd name="T47" fmla="*/ 81 h 217"/>
                <a:gd name="T48" fmla="*/ 110 w 161"/>
                <a:gd name="T49" fmla="*/ 199 h 217"/>
                <a:gd name="T50" fmla="*/ 93 w 161"/>
                <a:gd name="T51" fmla="*/ 217 h 217"/>
                <a:gd name="T52" fmla="*/ 81 w 161"/>
                <a:gd name="T53" fmla="*/ 194 h 217"/>
                <a:gd name="T54" fmla="*/ 86 w 161"/>
                <a:gd name="T55" fmla="*/ 199 h 217"/>
                <a:gd name="T56" fmla="*/ 93 w 161"/>
                <a:gd name="T57" fmla="*/ 206 h 217"/>
                <a:gd name="T58" fmla="*/ 99 w 161"/>
                <a:gd name="T59" fmla="*/ 199 h 217"/>
                <a:gd name="T60" fmla="*/ 100 w 161"/>
                <a:gd name="T61" fmla="*/ 78 h 217"/>
                <a:gd name="T62" fmla="*/ 102 w 161"/>
                <a:gd name="T63" fmla="*/ 74 h 217"/>
                <a:gd name="T64" fmla="*/ 122 w 161"/>
                <a:gd name="T65" fmla="*/ 56 h 217"/>
                <a:gd name="T66" fmla="*/ 145 w 161"/>
                <a:gd name="T67" fmla="*/ 25 h 217"/>
                <a:gd name="T68" fmla="*/ 149 w 161"/>
                <a:gd name="T69" fmla="*/ 16 h 217"/>
                <a:gd name="T70" fmla="*/ 148 w 161"/>
                <a:gd name="T71" fmla="*/ 13 h 217"/>
                <a:gd name="T72" fmla="*/ 145 w 161"/>
                <a:gd name="T73" fmla="*/ 14 h 217"/>
                <a:gd name="T74" fmla="*/ 141 w 161"/>
                <a:gd name="T75" fmla="*/ 19 h 217"/>
                <a:gd name="T76" fmla="*/ 113 w 161"/>
                <a:gd name="T77" fmla="*/ 52 h 217"/>
                <a:gd name="T78" fmla="*/ 99 w 161"/>
                <a:gd name="T79" fmla="*/ 56 h 217"/>
                <a:gd name="T80" fmla="*/ 62 w 161"/>
                <a:gd name="T81" fmla="*/ 56 h 217"/>
                <a:gd name="T82" fmla="*/ 48 w 161"/>
                <a:gd name="T83" fmla="*/ 52 h 217"/>
                <a:gd name="T84" fmla="*/ 48 w 161"/>
                <a:gd name="T85" fmla="*/ 52 h 217"/>
                <a:gd name="T86" fmla="*/ 20 w 161"/>
                <a:gd name="T87" fmla="*/ 20 h 217"/>
                <a:gd name="T88" fmla="*/ 17 w 161"/>
                <a:gd name="T89" fmla="*/ 14 h 217"/>
                <a:gd name="T90" fmla="*/ 14 w 161"/>
                <a:gd name="T91" fmla="*/ 13 h 217"/>
                <a:gd name="T92" fmla="*/ 13 w 161"/>
                <a:gd name="T93" fmla="*/ 16 h 217"/>
                <a:gd name="T94" fmla="*/ 17 w 161"/>
                <a:gd name="T95" fmla="*/ 25 h 217"/>
                <a:gd name="T96" fmla="*/ 39 w 161"/>
                <a:gd name="T97" fmla="*/ 56 h 217"/>
                <a:gd name="T98" fmla="*/ 60 w 161"/>
                <a:gd name="T99" fmla="*/ 74 h 217"/>
                <a:gd name="T100" fmla="*/ 62 w 161"/>
                <a:gd name="T101" fmla="*/ 78 h 217"/>
                <a:gd name="T102" fmla="*/ 62 w 161"/>
                <a:gd name="T103" fmla="*/ 199 h 217"/>
                <a:gd name="T104" fmla="*/ 68 w 161"/>
                <a:gd name="T105" fmla="*/ 206 h 217"/>
                <a:gd name="T106" fmla="*/ 73 w 161"/>
                <a:gd name="T107" fmla="*/ 204 h 217"/>
                <a:gd name="T108" fmla="*/ 75 w 161"/>
                <a:gd name="T109" fmla="*/ 199 h 217"/>
                <a:gd name="T110" fmla="*/ 81 w 161"/>
                <a:gd name="T111" fmla="*/ 19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1" h="217">
                  <a:moveTo>
                    <a:pt x="93" y="217"/>
                  </a:moveTo>
                  <a:cubicBezTo>
                    <a:pt x="88" y="217"/>
                    <a:pt x="84" y="215"/>
                    <a:pt x="81" y="212"/>
                  </a:cubicBezTo>
                  <a:cubicBezTo>
                    <a:pt x="80" y="212"/>
                    <a:pt x="80" y="212"/>
                    <a:pt x="80" y="212"/>
                  </a:cubicBezTo>
                  <a:cubicBezTo>
                    <a:pt x="77" y="216"/>
                    <a:pt x="72" y="217"/>
                    <a:pt x="67" y="217"/>
                  </a:cubicBezTo>
                  <a:cubicBezTo>
                    <a:pt x="58" y="216"/>
                    <a:pt x="51" y="208"/>
                    <a:pt x="51" y="199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21" y="55"/>
                    <a:pt x="12" y="43"/>
                    <a:pt x="7" y="3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13"/>
                    <a:pt x="3" y="6"/>
                    <a:pt x="9" y="3"/>
                  </a:cubicBezTo>
                  <a:cubicBezTo>
                    <a:pt x="15" y="0"/>
                    <a:pt x="23" y="2"/>
                    <a:pt x="26" y="8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6" y="25"/>
                    <a:pt x="44" y="35"/>
                    <a:pt x="55" y="43"/>
                  </a:cubicBezTo>
                  <a:cubicBezTo>
                    <a:pt x="55" y="43"/>
                    <a:pt x="55" y="43"/>
                    <a:pt x="55" y="43"/>
                  </a:cubicBezTo>
                  <a:cubicBezTo>
                    <a:pt x="57" y="44"/>
                    <a:pt x="59" y="45"/>
                    <a:pt x="62" y="45"/>
                  </a:cubicBezTo>
                  <a:cubicBezTo>
                    <a:pt x="99" y="45"/>
                    <a:pt x="99" y="45"/>
                    <a:pt x="99" y="45"/>
                  </a:cubicBezTo>
                  <a:cubicBezTo>
                    <a:pt x="102" y="45"/>
                    <a:pt x="104" y="44"/>
                    <a:pt x="106" y="43"/>
                  </a:cubicBezTo>
                  <a:cubicBezTo>
                    <a:pt x="117" y="35"/>
                    <a:pt x="126" y="25"/>
                    <a:pt x="132" y="14"/>
                  </a:cubicBezTo>
                  <a:cubicBezTo>
                    <a:pt x="135" y="8"/>
                    <a:pt x="135" y="8"/>
                    <a:pt x="135" y="8"/>
                  </a:cubicBezTo>
                  <a:cubicBezTo>
                    <a:pt x="138" y="2"/>
                    <a:pt x="146" y="0"/>
                    <a:pt x="152" y="3"/>
                  </a:cubicBezTo>
                  <a:cubicBezTo>
                    <a:pt x="159" y="6"/>
                    <a:pt x="161" y="13"/>
                    <a:pt x="159" y="2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49" y="43"/>
                    <a:pt x="140" y="55"/>
                    <a:pt x="129" y="65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10" y="199"/>
                    <a:pt x="110" y="199"/>
                    <a:pt x="110" y="199"/>
                  </a:cubicBezTo>
                  <a:cubicBezTo>
                    <a:pt x="110" y="209"/>
                    <a:pt x="103" y="217"/>
                    <a:pt x="93" y="217"/>
                  </a:cubicBezTo>
                  <a:close/>
                  <a:moveTo>
                    <a:pt x="81" y="194"/>
                  </a:moveTo>
                  <a:cubicBezTo>
                    <a:pt x="84" y="194"/>
                    <a:pt x="86" y="196"/>
                    <a:pt x="86" y="199"/>
                  </a:cubicBezTo>
                  <a:cubicBezTo>
                    <a:pt x="86" y="203"/>
                    <a:pt x="89" y="206"/>
                    <a:pt x="93" y="206"/>
                  </a:cubicBezTo>
                  <a:cubicBezTo>
                    <a:pt x="96" y="206"/>
                    <a:pt x="99" y="203"/>
                    <a:pt x="99" y="199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100" y="77"/>
                    <a:pt x="100" y="75"/>
                    <a:pt x="102" y="74"/>
                  </a:cubicBezTo>
                  <a:cubicBezTo>
                    <a:pt x="122" y="56"/>
                    <a:pt x="122" y="56"/>
                    <a:pt x="122" y="56"/>
                  </a:cubicBezTo>
                  <a:cubicBezTo>
                    <a:pt x="132" y="48"/>
                    <a:pt x="139" y="37"/>
                    <a:pt x="145" y="25"/>
                  </a:cubicBezTo>
                  <a:cubicBezTo>
                    <a:pt x="149" y="16"/>
                    <a:pt x="149" y="16"/>
                    <a:pt x="149" y="16"/>
                  </a:cubicBezTo>
                  <a:cubicBezTo>
                    <a:pt x="149" y="14"/>
                    <a:pt x="149" y="13"/>
                    <a:pt x="148" y="13"/>
                  </a:cubicBezTo>
                  <a:cubicBezTo>
                    <a:pt x="146" y="12"/>
                    <a:pt x="145" y="13"/>
                    <a:pt x="145" y="14"/>
                  </a:cubicBezTo>
                  <a:cubicBezTo>
                    <a:pt x="141" y="19"/>
                    <a:pt x="141" y="19"/>
                    <a:pt x="141" y="19"/>
                  </a:cubicBezTo>
                  <a:cubicBezTo>
                    <a:pt x="134" y="32"/>
                    <a:pt x="125" y="43"/>
                    <a:pt x="113" y="52"/>
                  </a:cubicBezTo>
                  <a:cubicBezTo>
                    <a:pt x="109" y="55"/>
                    <a:pt x="104" y="56"/>
                    <a:pt x="99" y="56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57" y="56"/>
                    <a:pt x="52" y="55"/>
                    <a:pt x="48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37" y="43"/>
                    <a:pt x="27" y="32"/>
                    <a:pt x="20" y="20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3"/>
                    <a:pt x="15" y="12"/>
                    <a:pt x="14" y="13"/>
                  </a:cubicBezTo>
                  <a:cubicBezTo>
                    <a:pt x="13" y="13"/>
                    <a:pt x="12" y="14"/>
                    <a:pt x="13" y="16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22" y="37"/>
                    <a:pt x="30" y="48"/>
                    <a:pt x="39" y="56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1" y="75"/>
                    <a:pt x="62" y="77"/>
                    <a:pt x="62" y="78"/>
                  </a:cubicBezTo>
                  <a:cubicBezTo>
                    <a:pt x="62" y="199"/>
                    <a:pt x="62" y="199"/>
                    <a:pt x="62" y="199"/>
                  </a:cubicBezTo>
                  <a:cubicBezTo>
                    <a:pt x="62" y="202"/>
                    <a:pt x="64" y="206"/>
                    <a:pt x="68" y="206"/>
                  </a:cubicBezTo>
                  <a:cubicBezTo>
                    <a:pt x="70" y="206"/>
                    <a:pt x="71" y="205"/>
                    <a:pt x="73" y="204"/>
                  </a:cubicBezTo>
                  <a:cubicBezTo>
                    <a:pt x="74" y="203"/>
                    <a:pt x="75" y="201"/>
                    <a:pt x="75" y="199"/>
                  </a:cubicBezTo>
                  <a:cubicBezTo>
                    <a:pt x="75" y="196"/>
                    <a:pt x="78" y="194"/>
                    <a:pt x="81" y="1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2" name="Freeform 1400">
              <a:extLst>
                <a:ext uri="{FF2B5EF4-FFF2-40B4-BE49-F238E27FC236}">
                  <a16:creationId xmlns:a16="http://schemas.microsoft.com/office/drawing/2014/main" id="{DF5146B7-2FEB-9756-3A06-A0CEA121DE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40011" y="2718767"/>
              <a:ext cx="44450" cy="46038"/>
            </a:xfrm>
            <a:custGeom>
              <a:avLst/>
              <a:gdLst>
                <a:gd name="T0" fmla="*/ 22 w 43"/>
                <a:gd name="T1" fmla="*/ 44 h 44"/>
                <a:gd name="T2" fmla="*/ 0 w 43"/>
                <a:gd name="T3" fmla="*/ 22 h 44"/>
                <a:gd name="T4" fmla="*/ 22 w 43"/>
                <a:gd name="T5" fmla="*/ 0 h 44"/>
                <a:gd name="T6" fmla="*/ 43 w 43"/>
                <a:gd name="T7" fmla="*/ 22 h 44"/>
                <a:gd name="T8" fmla="*/ 22 w 43"/>
                <a:gd name="T9" fmla="*/ 44 h 44"/>
                <a:gd name="T10" fmla="*/ 22 w 43"/>
                <a:gd name="T11" fmla="*/ 11 h 44"/>
                <a:gd name="T12" fmla="*/ 11 w 43"/>
                <a:gd name="T13" fmla="*/ 22 h 44"/>
                <a:gd name="T14" fmla="*/ 22 w 43"/>
                <a:gd name="T15" fmla="*/ 33 h 44"/>
                <a:gd name="T16" fmla="*/ 32 w 43"/>
                <a:gd name="T17" fmla="*/ 22 h 44"/>
                <a:gd name="T18" fmla="*/ 22 w 43"/>
                <a:gd name="T19" fmla="*/ 1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4">
                  <a:moveTo>
                    <a:pt x="22" y="44"/>
                  </a:moveTo>
                  <a:cubicBezTo>
                    <a:pt x="9" y="44"/>
                    <a:pt x="0" y="34"/>
                    <a:pt x="0" y="22"/>
                  </a:cubicBezTo>
                  <a:cubicBezTo>
                    <a:pt x="0" y="10"/>
                    <a:pt x="9" y="0"/>
                    <a:pt x="22" y="0"/>
                  </a:cubicBezTo>
                  <a:cubicBezTo>
                    <a:pt x="34" y="0"/>
                    <a:pt x="43" y="10"/>
                    <a:pt x="43" y="22"/>
                  </a:cubicBezTo>
                  <a:cubicBezTo>
                    <a:pt x="43" y="34"/>
                    <a:pt x="34" y="44"/>
                    <a:pt x="22" y="44"/>
                  </a:cubicBezTo>
                  <a:close/>
                  <a:moveTo>
                    <a:pt x="22" y="11"/>
                  </a:moveTo>
                  <a:cubicBezTo>
                    <a:pt x="16" y="11"/>
                    <a:pt x="11" y="16"/>
                    <a:pt x="11" y="22"/>
                  </a:cubicBezTo>
                  <a:cubicBezTo>
                    <a:pt x="11" y="28"/>
                    <a:pt x="16" y="33"/>
                    <a:pt x="22" y="33"/>
                  </a:cubicBezTo>
                  <a:cubicBezTo>
                    <a:pt x="28" y="33"/>
                    <a:pt x="32" y="28"/>
                    <a:pt x="32" y="22"/>
                  </a:cubicBezTo>
                  <a:cubicBezTo>
                    <a:pt x="32" y="16"/>
                    <a:pt x="28" y="11"/>
                    <a:pt x="2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3" name="Freeform 1401">
              <a:extLst>
                <a:ext uri="{FF2B5EF4-FFF2-40B4-BE49-F238E27FC236}">
                  <a16:creationId xmlns:a16="http://schemas.microsoft.com/office/drawing/2014/main" id="{7ADD0998-8E79-D166-24D2-766438390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44773" y="2593355"/>
              <a:ext cx="53975" cy="74613"/>
            </a:xfrm>
            <a:custGeom>
              <a:avLst/>
              <a:gdLst>
                <a:gd name="T0" fmla="*/ 25 w 51"/>
                <a:gd name="T1" fmla="*/ 72 h 72"/>
                <a:gd name="T2" fmla="*/ 2 w 51"/>
                <a:gd name="T3" fmla="*/ 60 h 72"/>
                <a:gd name="T4" fmla="*/ 3 w 51"/>
                <a:gd name="T5" fmla="*/ 53 h 72"/>
                <a:gd name="T6" fmla="*/ 11 w 51"/>
                <a:gd name="T7" fmla="*/ 54 h 72"/>
                <a:gd name="T8" fmla="*/ 34 w 51"/>
                <a:gd name="T9" fmla="*/ 59 h 72"/>
                <a:gd name="T10" fmla="*/ 35 w 51"/>
                <a:gd name="T11" fmla="*/ 59 h 72"/>
                <a:gd name="T12" fmla="*/ 39 w 51"/>
                <a:gd name="T13" fmla="*/ 50 h 72"/>
                <a:gd name="T14" fmla="*/ 32 w 51"/>
                <a:gd name="T15" fmla="*/ 42 h 72"/>
                <a:gd name="T16" fmla="*/ 16 w 51"/>
                <a:gd name="T17" fmla="*/ 37 h 72"/>
                <a:gd name="T18" fmla="*/ 1 w 51"/>
                <a:gd name="T19" fmla="*/ 19 h 72"/>
                <a:gd name="T20" fmla="*/ 7 w 51"/>
                <a:gd name="T21" fmla="*/ 5 h 72"/>
                <a:gd name="T22" fmla="*/ 26 w 51"/>
                <a:gd name="T23" fmla="*/ 0 h 72"/>
                <a:gd name="T24" fmla="*/ 50 w 51"/>
                <a:gd name="T25" fmla="*/ 16 h 72"/>
                <a:gd name="T26" fmla="*/ 46 w 51"/>
                <a:gd name="T27" fmla="*/ 23 h 72"/>
                <a:gd name="T28" fmla="*/ 39 w 51"/>
                <a:gd name="T29" fmla="*/ 19 h 72"/>
                <a:gd name="T30" fmla="*/ 26 w 51"/>
                <a:gd name="T31" fmla="*/ 11 h 72"/>
                <a:gd name="T32" fmla="*/ 15 w 51"/>
                <a:gd name="T33" fmla="*/ 14 h 72"/>
                <a:gd name="T34" fmla="*/ 12 w 51"/>
                <a:gd name="T35" fmla="*/ 19 h 72"/>
                <a:gd name="T36" fmla="*/ 19 w 51"/>
                <a:gd name="T37" fmla="*/ 27 h 72"/>
                <a:gd name="T38" fmla="*/ 35 w 51"/>
                <a:gd name="T39" fmla="*/ 31 h 72"/>
                <a:gd name="T40" fmla="*/ 50 w 51"/>
                <a:gd name="T41" fmla="*/ 49 h 72"/>
                <a:gd name="T42" fmla="*/ 39 w 51"/>
                <a:gd name="T43" fmla="*/ 69 h 72"/>
                <a:gd name="T44" fmla="*/ 25 w 51"/>
                <a:gd name="T4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" h="72">
                  <a:moveTo>
                    <a:pt x="25" y="72"/>
                  </a:moveTo>
                  <a:cubicBezTo>
                    <a:pt x="18" y="72"/>
                    <a:pt x="9" y="69"/>
                    <a:pt x="2" y="60"/>
                  </a:cubicBezTo>
                  <a:cubicBezTo>
                    <a:pt x="0" y="58"/>
                    <a:pt x="1" y="54"/>
                    <a:pt x="3" y="53"/>
                  </a:cubicBezTo>
                  <a:cubicBezTo>
                    <a:pt x="6" y="51"/>
                    <a:pt x="9" y="51"/>
                    <a:pt x="11" y="54"/>
                  </a:cubicBezTo>
                  <a:cubicBezTo>
                    <a:pt x="20" y="66"/>
                    <a:pt x="34" y="59"/>
                    <a:pt x="34" y="59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6" y="58"/>
                    <a:pt x="40" y="56"/>
                    <a:pt x="39" y="50"/>
                  </a:cubicBezTo>
                  <a:cubicBezTo>
                    <a:pt x="38" y="44"/>
                    <a:pt x="33" y="42"/>
                    <a:pt x="32" y="42"/>
                  </a:cubicBezTo>
                  <a:cubicBezTo>
                    <a:pt x="32" y="42"/>
                    <a:pt x="24" y="39"/>
                    <a:pt x="16" y="37"/>
                  </a:cubicBezTo>
                  <a:cubicBezTo>
                    <a:pt x="4" y="34"/>
                    <a:pt x="1" y="25"/>
                    <a:pt x="1" y="19"/>
                  </a:cubicBezTo>
                  <a:cubicBezTo>
                    <a:pt x="2" y="13"/>
                    <a:pt x="4" y="9"/>
                    <a:pt x="7" y="5"/>
                  </a:cubicBezTo>
                  <a:cubicBezTo>
                    <a:pt x="12" y="2"/>
                    <a:pt x="18" y="0"/>
                    <a:pt x="26" y="0"/>
                  </a:cubicBezTo>
                  <a:cubicBezTo>
                    <a:pt x="41" y="0"/>
                    <a:pt x="48" y="11"/>
                    <a:pt x="50" y="16"/>
                  </a:cubicBezTo>
                  <a:cubicBezTo>
                    <a:pt x="51" y="19"/>
                    <a:pt x="49" y="22"/>
                    <a:pt x="46" y="23"/>
                  </a:cubicBezTo>
                  <a:cubicBezTo>
                    <a:pt x="43" y="24"/>
                    <a:pt x="40" y="22"/>
                    <a:pt x="39" y="19"/>
                  </a:cubicBezTo>
                  <a:cubicBezTo>
                    <a:pt x="39" y="18"/>
                    <a:pt x="36" y="11"/>
                    <a:pt x="26" y="11"/>
                  </a:cubicBezTo>
                  <a:cubicBezTo>
                    <a:pt x="21" y="11"/>
                    <a:pt x="17" y="12"/>
                    <a:pt x="15" y="14"/>
                  </a:cubicBezTo>
                  <a:cubicBezTo>
                    <a:pt x="13" y="15"/>
                    <a:pt x="12" y="17"/>
                    <a:pt x="12" y="19"/>
                  </a:cubicBezTo>
                  <a:cubicBezTo>
                    <a:pt x="12" y="22"/>
                    <a:pt x="14" y="25"/>
                    <a:pt x="19" y="27"/>
                  </a:cubicBezTo>
                  <a:cubicBezTo>
                    <a:pt x="27" y="29"/>
                    <a:pt x="35" y="31"/>
                    <a:pt x="35" y="31"/>
                  </a:cubicBezTo>
                  <a:cubicBezTo>
                    <a:pt x="40" y="33"/>
                    <a:pt x="49" y="38"/>
                    <a:pt x="50" y="49"/>
                  </a:cubicBezTo>
                  <a:cubicBezTo>
                    <a:pt x="51" y="61"/>
                    <a:pt x="44" y="67"/>
                    <a:pt x="39" y="69"/>
                  </a:cubicBezTo>
                  <a:cubicBezTo>
                    <a:pt x="36" y="70"/>
                    <a:pt x="31" y="72"/>
                    <a:pt x="25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4" name="Freeform 1402">
              <a:extLst>
                <a:ext uri="{FF2B5EF4-FFF2-40B4-BE49-F238E27FC236}">
                  <a16:creationId xmlns:a16="http://schemas.microsoft.com/office/drawing/2014/main" id="{FC703EAB-E7B3-C9A8-4A73-5CC2E64EE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22548" y="2580654"/>
              <a:ext cx="11113" cy="23813"/>
            </a:xfrm>
            <a:custGeom>
              <a:avLst/>
              <a:gdLst>
                <a:gd name="T0" fmla="*/ 5 w 11"/>
                <a:gd name="T1" fmla="*/ 24 h 24"/>
                <a:gd name="T2" fmla="*/ 0 w 11"/>
                <a:gd name="T3" fmla="*/ 18 h 24"/>
                <a:gd name="T4" fmla="*/ 0 w 11"/>
                <a:gd name="T5" fmla="*/ 6 h 24"/>
                <a:gd name="T6" fmla="*/ 5 w 11"/>
                <a:gd name="T7" fmla="*/ 0 h 24"/>
                <a:gd name="T8" fmla="*/ 11 w 11"/>
                <a:gd name="T9" fmla="*/ 6 h 24"/>
                <a:gd name="T10" fmla="*/ 11 w 11"/>
                <a:gd name="T11" fmla="*/ 18 h 24"/>
                <a:gd name="T12" fmla="*/ 5 w 11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4">
                  <a:moveTo>
                    <a:pt x="5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6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21"/>
                    <a:pt x="8" y="24"/>
                    <a:pt x="5" y="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5" name="Freeform 1403">
              <a:extLst>
                <a:ext uri="{FF2B5EF4-FFF2-40B4-BE49-F238E27FC236}">
                  <a16:creationId xmlns:a16="http://schemas.microsoft.com/office/drawing/2014/main" id="{C4089485-79D5-240A-D330-0F07C9197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22548" y="2658442"/>
              <a:ext cx="11113" cy="23813"/>
            </a:xfrm>
            <a:custGeom>
              <a:avLst/>
              <a:gdLst>
                <a:gd name="T0" fmla="*/ 5 w 11"/>
                <a:gd name="T1" fmla="*/ 23 h 23"/>
                <a:gd name="T2" fmla="*/ 0 w 11"/>
                <a:gd name="T3" fmla="*/ 18 h 23"/>
                <a:gd name="T4" fmla="*/ 0 w 11"/>
                <a:gd name="T5" fmla="*/ 5 h 23"/>
                <a:gd name="T6" fmla="*/ 5 w 11"/>
                <a:gd name="T7" fmla="*/ 0 h 23"/>
                <a:gd name="T8" fmla="*/ 11 w 11"/>
                <a:gd name="T9" fmla="*/ 5 h 23"/>
                <a:gd name="T10" fmla="*/ 11 w 11"/>
                <a:gd name="T11" fmla="*/ 18 h 23"/>
                <a:gd name="T12" fmla="*/ 5 w 11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3">
                  <a:moveTo>
                    <a:pt x="5" y="23"/>
                  </a:moveTo>
                  <a:cubicBezTo>
                    <a:pt x="2" y="23"/>
                    <a:pt x="0" y="21"/>
                    <a:pt x="0" y="1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21"/>
                    <a:pt x="8" y="23"/>
                    <a:pt x="5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1404">
              <a:extLst>
                <a:ext uri="{FF2B5EF4-FFF2-40B4-BE49-F238E27FC236}">
                  <a16:creationId xmlns:a16="http://schemas.microsoft.com/office/drawing/2014/main" id="{6DB66361-53A5-6EAE-CFCD-E2AD567AE7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92400" y="2556843"/>
              <a:ext cx="149225" cy="150813"/>
            </a:xfrm>
            <a:custGeom>
              <a:avLst/>
              <a:gdLst>
                <a:gd name="T0" fmla="*/ 73 w 145"/>
                <a:gd name="T1" fmla="*/ 145 h 145"/>
                <a:gd name="T2" fmla="*/ 0 w 145"/>
                <a:gd name="T3" fmla="*/ 73 h 145"/>
                <a:gd name="T4" fmla="*/ 73 w 145"/>
                <a:gd name="T5" fmla="*/ 0 h 145"/>
                <a:gd name="T6" fmla="*/ 145 w 145"/>
                <a:gd name="T7" fmla="*/ 73 h 145"/>
                <a:gd name="T8" fmla="*/ 73 w 145"/>
                <a:gd name="T9" fmla="*/ 145 h 145"/>
                <a:gd name="T10" fmla="*/ 73 w 145"/>
                <a:gd name="T11" fmla="*/ 11 h 145"/>
                <a:gd name="T12" fmla="*/ 11 w 145"/>
                <a:gd name="T13" fmla="*/ 73 h 145"/>
                <a:gd name="T14" fmla="*/ 73 w 145"/>
                <a:gd name="T15" fmla="*/ 134 h 145"/>
                <a:gd name="T16" fmla="*/ 134 w 145"/>
                <a:gd name="T17" fmla="*/ 73 h 145"/>
                <a:gd name="T18" fmla="*/ 73 w 145"/>
                <a:gd name="T19" fmla="*/ 11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145">
                  <a:moveTo>
                    <a:pt x="73" y="145"/>
                  </a:moveTo>
                  <a:cubicBezTo>
                    <a:pt x="33" y="145"/>
                    <a:pt x="0" y="113"/>
                    <a:pt x="0" y="73"/>
                  </a:cubicBez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5" y="33"/>
                    <a:pt x="145" y="73"/>
                  </a:cubicBezTo>
                  <a:cubicBezTo>
                    <a:pt x="145" y="113"/>
                    <a:pt x="113" y="145"/>
                    <a:pt x="73" y="145"/>
                  </a:cubicBezTo>
                  <a:close/>
                  <a:moveTo>
                    <a:pt x="73" y="11"/>
                  </a:moveTo>
                  <a:cubicBezTo>
                    <a:pt x="39" y="11"/>
                    <a:pt x="11" y="39"/>
                    <a:pt x="11" y="73"/>
                  </a:cubicBezTo>
                  <a:cubicBezTo>
                    <a:pt x="11" y="107"/>
                    <a:pt x="39" y="134"/>
                    <a:pt x="73" y="134"/>
                  </a:cubicBezTo>
                  <a:cubicBezTo>
                    <a:pt x="107" y="134"/>
                    <a:pt x="134" y="107"/>
                    <a:pt x="134" y="73"/>
                  </a:cubicBezTo>
                  <a:cubicBezTo>
                    <a:pt x="134" y="39"/>
                    <a:pt x="107" y="11"/>
                    <a:pt x="7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07" name="Shape45_20200717_142846">
            <a:extLst>
              <a:ext uri="{FF2B5EF4-FFF2-40B4-BE49-F238E27FC236}">
                <a16:creationId xmlns:a16="http://schemas.microsoft.com/office/drawing/2014/main" id="{E3E5388D-77CB-02E5-FE39-86174702DDD9}"/>
              </a:ext>
            </a:extLst>
          </p:cNvPr>
          <p:cNvGrpSpPr>
            <a:grpSpLocks noChangeAspect="1"/>
          </p:cNvGrpSpPr>
          <p:nvPr/>
        </p:nvGrpSpPr>
        <p:grpSpPr>
          <a:xfrm>
            <a:off x="7119691" y="1280065"/>
            <a:ext cx="563729" cy="486965"/>
            <a:chOff x="-595313" y="1002677"/>
            <a:chExt cx="373064" cy="322261"/>
          </a:xfrm>
          <a:solidFill>
            <a:schemeClr val="accent1"/>
          </a:solidFill>
        </p:grpSpPr>
        <p:sp>
          <p:nvSpPr>
            <p:cNvPr id="108" name="Freeform 1432">
              <a:extLst>
                <a:ext uri="{FF2B5EF4-FFF2-40B4-BE49-F238E27FC236}">
                  <a16:creationId xmlns:a16="http://schemas.microsoft.com/office/drawing/2014/main" id="{F14E80A4-D358-CEA2-3559-644999EADFC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8450" y="1207463"/>
              <a:ext cx="11113" cy="100013"/>
            </a:xfrm>
            <a:custGeom>
              <a:avLst/>
              <a:gdLst>
                <a:gd name="T0" fmla="*/ 5 w 11"/>
                <a:gd name="T1" fmla="*/ 96 h 96"/>
                <a:gd name="T2" fmla="*/ 0 w 11"/>
                <a:gd name="T3" fmla="*/ 91 h 96"/>
                <a:gd name="T4" fmla="*/ 0 w 11"/>
                <a:gd name="T5" fmla="*/ 5 h 96"/>
                <a:gd name="T6" fmla="*/ 5 w 11"/>
                <a:gd name="T7" fmla="*/ 0 h 96"/>
                <a:gd name="T8" fmla="*/ 11 w 11"/>
                <a:gd name="T9" fmla="*/ 5 h 96"/>
                <a:gd name="T10" fmla="*/ 11 w 11"/>
                <a:gd name="T11" fmla="*/ 91 h 96"/>
                <a:gd name="T12" fmla="*/ 5 w 11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6">
                  <a:moveTo>
                    <a:pt x="5" y="96"/>
                  </a:moveTo>
                  <a:cubicBezTo>
                    <a:pt x="2" y="96"/>
                    <a:pt x="0" y="94"/>
                    <a:pt x="0" y="9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4"/>
                    <a:pt x="8" y="96"/>
                    <a:pt x="5" y="9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9" name="Freeform 1433">
              <a:extLst>
                <a:ext uri="{FF2B5EF4-FFF2-40B4-BE49-F238E27FC236}">
                  <a16:creationId xmlns:a16="http://schemas.microsoft.com/office/drawing/2014/main" id="{B4BCC243-8FC1-639A-9FC3-A7F18304BA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9575" y="1113800"/>
              <a:ext cx="85725" cy="76199"/>
            </a:xfrm>
            <a:custGeom>
              <a:avLst/>
              <a:gdLst>
                <a:gd name="T0" fmla="*/ 76 w 82"/>
                <a:gd name="T1" fmla="*/ 72 h 72"/>
                <a:gd name="T2" fmla="*/ 71 w 82"/>
                <a:gd name="T3" fmla="*/ 67 h 72"/>
                <a:gd name="T4" fmla="*/ 71 w 82"/>
                <a:gd name="T5" fmla="*/ 14 h 72"/>
                <a:gd name="T6" fmla="*/ 57 w 82"/>
                <a:gd name="T7" fmla="*/ 20 h 72"/>
                <a:gd name="T8" fmla="*/ 23 w 82"/>
                <a:gd name="T9" fmla="*/ 32 h 72"/>
                <a:gd name="T10" fmla="*/ 7 w 82"/>
                <a:gd name="T11" fmla="*/ 34 h 72"/>
                <a:gd name="T12" fmla="*/ 1 w 82"/>
                <a:gd name="T13" fmla="*/ 30 h 72"/>
                <a:gd name="T14" fmla="*/ 5 w 82"/>
                <a:gd name="T15" fmla="*/ 24 h 72"/>
                <a:gd name="T16" fmla="*/ 21 w 82"/>
                <a:gd name="T17" fmla="*/ 21 h 72"/>
                <a:gd name="T18" fmla="*/ 53 w 82"/>
                <a:gd name="T19" fmla="*/ 10 h 72"/>
                <a:gd name="T20" fmla="*/ 74 w 82"/>
                <a:gd name="T21" fmla="*/ 1 h 72"/>
                <a:gd name="T22" fmla="*/ 79 w 82"/>
                <a:gd name="T23" fmla="*/ 1 h 72"/>
                <a:gd name="T24" fmla="*/ 82 w 82"/>
                <a:gd name="T25" fmla="*/ 6 h 72"/>
                <a:gd name="T26" fmla="*/ 82 w 82"/>
                <a:gd name="T27" fmla="*/ 67 h 72"/>
                <a:gd name="T28" fmla="*/ 76 w 82"/>
                <a:gd name="T2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" h="72">
                  <a:moveTo>
                    <a:pt x="76" y="72"/>
                  </a:moveTo>
                  <a:cubicBezTo>
                    <a:pt x="73" y="72"/>
                    <a:pt x="71" y="70"/>
                    <a:pt x="71" y="67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46" y="25"/>
                    <a:pt x="35" y="29"/>
                    <a:pt x="23" y="32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5" y="35"/>
                    <a:pt x="2" y="33"/>
                    <a:pt x="1" y="30"/>
                  </a:cubicBezTo>
                  <a:cubicBezTo>
                    <a:pt x="0" y="27"/>
                    <a:pt x="2" y="24"/>
                    <a:pt x="5" y="24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32" y="19"/>
                    <a:pt x="43" y="15"/>
                    <a:pt x="53" y="10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5" y="0"/>
                    <a:pt x="77" y="0"/>
                    <a:pt x="79" y="1"/>
                  </a:cubicBezTo>
                  <a:cubicBezTo>
                    <a:pt x="81" y="2"/>
                    <a:pt x="82" y="4"/>
                    <a:pt x="82" y="6"/>
                  </a:cubicBezTo>
                  <a:cubicBezTo>
                    <a:pt x="82" y="67"/>
                    <a:pt x="82" y="67"/>
                    <a:pt x="82" y="67"/>
                  </a:cubicBezTo>
                  <a:cubicBezTo>
                    <a:pt x="82" y="70"/>
                    <a:pt x="79" y="72"/>
                    <a:pt x="76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0" name="Freeform 1434">
              <a:extLst>
                <a:ext uri="{FF2B5EF4-FFF2-40B4-BE49-F238E27FC236}">
                  <a16:creationId xmlns:a16="http://schemas.microsoft.com/office/drawing/2014/main" id="{362278CC-C124-CB6D-0197-91C19D853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4337" y="1072525"/>
              <a:ext cx="192088" cy="252412"/>
            </a:xfrm>
            <a:custGeom>
              <a:avLst/>
              <a:gdLst>
                <a:gd name="T0" fmla="*/ 134 w 185"/>
                <a:gd name="T1" fmla="*/ 243 h 243"/>
                <a:gd name="T2" fmla="*/ 118 w 185"/>
                <a:gd name="T3" fmla="*/ 237 h 243"/>
                <a:gd name="T4" fmla="*/ 116 w 185"/>
                <a:gd name="T5" fmla="*/ 235 h 243"/>
                <a:gd name="T6" fmla="*/ 114 w 185"/>
                <a:gd name="T7" fmla="*/ 237 h 243"/>
                <a:gd name="T8" fmla="*/ 96 w 185"/>
                <a:gd name="T9" fmla="*/ 243 h 243"/>
                <a:gd name="T10" fmla="*/ 76 w 185"/>
                <a:gd name="T11" fmla="*/ 219 h 243"/>
                <a:gd name="T12" fmla="*/ 76 w 185"/>
                <a:gd name="T13" fmla="*/ 107 h 243"/>
                <a:gd name="T14" fmla="*/ 81 w 185"/>
                <a:gd name="T15" fmla="*/ 101 h 243"/>
                <a:gd name="T16" fmla="*/ 86 w 185"/>
                <a:gd name="T17" fmla="*/ 107 h 243"/>
                <a:gd name="T18" fmla="*/ 86 w 185"/>
                <a:gd name="T19" fmla="*/ 219 h 243"/>
                <a:gd name="T20" fmla="*/ 97 w 185"/>
                <a:gd name="T21" fmla="*/ 232 h 243"/>
                <a:gd name="T22" fmla="*/ 107 w 185"/>
                <a:gd name="T23" fmla="*/ 229 h 243"/>
                <a:gd name="T24" fmla="*/ 111 w 185"/>
                <a:gd name="T25" fmla="*/ 220 h 243"/>
                <a:gd name="T26" fmla="*/ 116 w 185"/>
                <a:gd name="T27" fmla="*/ 214 h 243"/>
                <a:gd name="T28" fmla="*/ 122 w 185"/>
                <a:gd name="T29" fmla="*/ 220 h 243"/>
                <a:gd name="T30" fmla="*/ 126 w 185"/>
                <a:gd name="T31" fmla="*/ 229 h 243"/>
                <a:gd name="T32" fmla="*/ 135 w 185"/>
                <a:gd name="T33" fmla="*/ 232 h 243"/>
                <a:gd name="T34" fmla="*/ 146 w 185"/>
                <a:gd name="T35" fmla="*/ 219 h 243"/>
                <a:gd name="T36" fmla="*/ 146 w 185"/>
                <a:gd name="T37" fmla="*/ 107 h 243"/>
                <a:gd name="T38" fmla="*/ 151 w 185"/>
                <a:gd name="T39" fmla="*/ 101 h 243"/>
                <a:gd name="T40" fmla="*/ 157 w 185"/>
                <a:gd name="T41" fmla="*/ 107 h 243"/>
                <a:gd name="T42" fmla="*/ 165 w 185"/>
                <a:gd name="T43" fmla="*/ 116 h 243"/>
                <a:gd name="T44" fmla="*/ 171 w 185"/>
                <a:gd name="T45" fmla="*/ 114 h 243"/>
                <a:gd name="T46" fmla="*/ 174 w 185"/>
                <a:gd name="T47" fmla="*/ 107 h 243"/>
                <a:gd name="T48" fmla="*/ 174 w 185"/>
                <a:gd name="T49" fmla="*/ 33 h 243"/>
                <a:gd name="T50" fmla="*/ 151 w 185"/>
                <a:gd name="T51" fmla="*/ 11 h 243"/>
                <a:gd name="T52" fmla="*/ 81 w 185"/>
                <a:gd name="T53" fmla="*/ 11 h 243"/>
                <a:gd name="T54" fmla="*/ 68 w 185"/>
                <a:gd name="T55" fmla="*/ 16 h 243"/>
                <a:gd name="T56" fmla="*/ 38 w 185"/>
                <a:gd name="T57" fmla="*/ 39 h 243"/>
                <a:gd name="T58" fmla="*/ 36 w 185"/>
                <a:gd name="T59" fmla="*/ 40 h 243"/>
                <a:gd name="T60" fmla="*/ 8 w 185"/>
                <a:gd name="T61" fmla="*/ 49 h 243"/>
                <a:gd name="T62" fmla="*/ 1 w 185"/>
                <a:gd name="T63" fmla="*/ 45 h 243"/>
                <a:gd name="T64" fmla="*/ 5 w 185"/>
                <a:gd name="T65" fmla="*/ 39 h 243"/>
                <a:gd name="T66" fmla="*/ 32 w 185"/>
                <a:gd name="T67" fmla="*/ 30 h 243"/>
                <a:gd name="T68" fmla="*/ 62 w 185"/>
                <a:gd name="T69" fmla="*/ 7 h 243"/>
                <a:gd name="T70" fmla="*/ 81 w 185"/>
                <a:gd name="T71" fmla="*/ 0 h 243"/>
                <a:gd name="T72" fmla="*/ 151 w 185"/>
                <a:gd name="T73" fmla="*/ 0 h 243"/>
                <a:gd name="T74" fmla="*/ 185 w 185"/>
                <a:gd name="T75" fmla="*/ 33 h 243"/>
                <a:gd name="T76" fmla="*/ 185 w 185"/>
                <a:gd name="T77" fmla="*/ 107 h 243"/>
                <a:gd name="T78" fmla="*/ 179 w 185"/>
                <a:gd name="T79" fmla="*/ 122 h 243"/>
                <a:gd name="T80" fmla="*/ 164 w 185"/>
                <a:gd name="T81" fmla="*/ 127 h 243"/>
                <a:gd name="T82" fmla="*/ 157 w 185"/>
                <a:gd name="T83" fmla="*/ 125 h 243"/>
                <a:gd name="T84" fmla="*/ 157 w 185"/>
                <a:gd name="T85" fmla="*/ 219 h 243"/>
                <a:gd name="T86" fmla="*/ 136 w 185"/>
                <a:gd name="T87" fmla="*/ 243 h 243"/>
                <a:gd name="T88" fmla="*/ 134 w 185"/>
                <a:gd name="T89" fmla="*/ 24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5" h="243">
                  <a:moveTo>
                    <a:pt x="134" y="243"/>
                  </a:moveTo>
                  <a:cubicBezTo>
                    <a:pt x="128" y="243"/>
                    <a:pt x="123" y="241"/>
                    <a:pt x="118" y="237"/>
                  </a:cubicBezTo>
                  <a:cubicBezTo>
                    <a:pt x="118" y="236"/>
                    <a:pt x="117" y="235"/>
                    <a:pt x="116" y="235"/>
                  </a:cubicBezTo>
                  <a:cubicBezTo>
                    <a:pt x="116" y="235"/>
                    <a:pt x="115" y="236"/>
                    <a:pt x="114" y="237"/>
                  </a:cubicBezTo>
                  <a:cubicBezTo>
                    <a:pt x="109" y="241"/>
                    <a:pt x="103" y="243"/>
                    <a:pt x="96" y="243"/>
                  </a:cubicBezTo>
                  <a:cubicBezTo>
                    <a:pt x="85" y="241"/>
                    <a:pt x="76" y="231"/>
                    <a:pt x="76" y="219"/>
                  </a:cubicBezTo>
                  <a:cubicBezTo>
                    <a:pt x="76" y="107"/>
                    <a:pt x="76" y="107"/>
                    <a:pt x="76" y="107"/>
                  </a:cubicBezTo>
                  <a:cubicBezTo>
                    <a:pt x="76" y="104"/>
                    <a:pt x="78" y="101"/>
                    <a:pt x="81" y="101"/>
                  </a:cubicBezTo>
                  <a:cubicBezTo>
                    <a:pt x="84" y="101"/>
                    <a:pt x="86" y="104"/>
                    <a:pt x="86" y="107"/>
                  </a:cubicBezTo>
                  <a:cubicBezTo>
                    <a:pt x="86" y="219"/>
                    <a:pt x="86" y="219"/>
                    <a:pt x="86" y="219"/>
                  </a:cubicBezTo>
                  <a:cubicBezTo>
                    <a:pt x="86" y="225"/>
                    <a:pt x="91" y="231"/>
                    <a:pt x="97" y="232"/>
                  </a:cubicBezTo>
                  <a:cubicBezTo>
                    <a:pt x="101" y="232"/>
                    <a:pt x="104" y="231"/>
                    <a:pt x="107" y="229"/>
                  </a:cubicBezTo>
                  <a:cubicBezTo>
                    <a:pt x="109" y="226"/>
                    <a:pt x="111" y="223"/>
                    <a:pt x="111" y="220"/>
                  </a:cubicBezTo>
                  <a:cubicBezTo>
                    <a:pt x="111" y="217"/>
                    <a:pt x="113" y="214"/>
                    <a:pt x="116" y="214"/>
                  </a:cubicBezTo>
                  <a:cubicBezTo>
                    <a:pt x="119" y="214"/>
                    <a:pt x="122" y="217"/>
                    <a:pt x="122" y="220"/>
                  </a:cubicBezTo>
                  <a:cubicBezTo>
                    <a:pt x="122" y="223"/>
                    <a:pt x="123" y="226"/>
                    <a:pt x="126" y="229"/>
                  </a:cubicBezTo>
                  <a:cubicBezTo>
                    <a:pt x="128" y="231"/>
                    <a:pt x="132" y="232"/>
                    <a:pt x="135" y="232"/>
                  </a:cubicBezTo>
                  <a:cubicBezTo>
                    <a:pt x="141" y="231"/>
                    <a:pt x="146" y="225"/>
                    <a:pt x="146" y="219"/>
                  </a:cubicBezTo>
                  <a:cubicBezTo>
                    <a:pt x="146" y="107"/>
                    <a:pt x="146" y="107"/>
                    <a:pt x="146" y="107"/>
                  </a:cubicBezTo>
                  <a:cubicBezTo>
                    <a:pt x="146" y="104"/>
                    <a:pt x="148" y="101"/>
                    <a:pt x="151" y="101"/>
                  </a:cubicBezTo>
                  <a:cubicBezTo>
                    <a:pt x="155" y="101"/>
                    <a:pt x="157" y="104"/>
                    <a:pt x="157" y="107"/>
                  </a:cubicBezTo>
                  <a:cubicBezTo>
                    <a:pt x="157" y="111"/>
                    <a:pt x="160" y="115"/>
                    <a:pt x="165" y="116"/>
                  </a:cubicBezTo>
                  <a:cubicBezTo>
                    <a:pt x="167" y="116"/>
                    <a:pt x="169" y="115"/>
                    <a:pt x="171" y="114"/>
                  </a:cubicBezTo>
                  <a:cubicBezTo>
                    <a:pt x="173" y="112"/>
                    <a:pt x="174" y="110"/>
                    <a:pt x="174" y="107"/>
                  </a:cubicBezTo>
                  <a:cubicBezTo>
                    <a:pt x="174" y="33"/>
                    <a:pt x="174" y="33"/>
                    <a:pt x="174" y="33"/>
                  </a:cubicBezTo>
                  <a:cubicBezTo>
                    <a:pt x="174" y="21"/>
                    <a:pt x="164" y="11"/>
                    <a:pt x="151" y="11"/>
                  </a:cubicBezTo>
                  <a:cubicBezTo>
                    <a:pt x="81" y="11"/>
                    <a:pt x="81" y="11"/>
                    <a:pt x="81" y="11"/>
                  </a:cubicBezTo>
                  <a:cubicBezTo>
                    <a:pt x="77" y="11"/>
                    <a:pt x="72" y="13"/>
                    <a:pt x="68" y="16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7" y="40"/>
                    <a:pt x="37" y="40"/>
                    <a:pt x="36" y="40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5" y="50"/>
                    <a:pt x="2" y="48"/>
                    <a:pt x="1" y="45"/>
                  </a:cubicBezTo>
                  <a:cubicBezTo>
                    <a:pt x="0" y="43"/>
                    <a:pt x="2" y="39"/>
                    <a:pt x="5" y="39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7" y="2"/>
                    <a:pt x="74" y="0"/>
                    <a:pt x="81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70" y="0"/>
                    <a:pt x="185" y="15"/>
                    <a:pt x="185" y="33"/>
                  </a:cubicBezTo>
                  <a:cubicBezTo>
                    <a:pt x="185" y="107"/>
                    <a:pt x="185" y="107"/>
                    <a:pt x="185" y="107"/>
                  </a:cubicBezTo>
                  <a:cubicBezTo>
                    <a:pt x="185" y="113"/>
                    <a:pt x="183" y="118"/>
                    <a:pt x="179" y="122"/>
                  </a:cubicBezTo>
                  <a:cubicBezTo>
                    <a:pt x="175" y="125"/>
                    <a:pt x="169" y="127"/>
                    <a:pt x="164" y="127"/>
                  </a:cubicBezTo>
                  <a:cubicBezTo>
                    <a:pt x="161" y="126"/>
                    <a:pt x="159" y="126"/>
                    <a:pt x="157" y="125"/>
                  </a:cubicBezTo>
                  <a:cubicBezTo>
                    <a:pt x="157" y="219"/>
                    <a:pt x="157" y="219"/>
                    <a:pt x="157" y="219"/>
                  </a:cubicBezTo>
                  <a:cubicBezTo>
                    <a:pt x="157" y="231"/>
                    <a:pt x="148" y="241"/>
                    <a:pt x="136" y="243"/>
                  </a:cubicBezTo>
                  <a:cubicBezTo>
                    <a:pt x="135" y="243"/>
                    <a:pt x="135" y="243"/>
                    <a:pt x="134" y="2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1" name="Freeform 1435">
              <a:extLst>
                <a:ext uri="{FF2B5EF4-FFF2-40B4-BE49-F238E27FC236}">
                  <a16:creationId xmlns:a16="http://schemas.microsoft.com/office/drawing/2014/main" id="{41413909-C634-EA24-F9D0-35C43A9B1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4962" y="1072525"/>
              <a:ext cx="84138" cy="11113"/>
            </a:xfrm>
            <a:custGeom>
              <a:avLst/>
              <a:gdLst>
                <a:gd name="T0" fmla="*/ 75 w 81"/>
                <a:gd name="T1" fmla="*/ 11 h 11"/>
                <a:gd name="T2" fmla="*/ 5 w 81"/>
                <a:gd name="T3" fmla="*/ 11 h 11"/>
                <a:gd name="T4" fmla="*/ 0 w 81"/>
                <a:gd name="T5" fmla="*/ 5 h 11"/>
                <a:gd name="T6" fmla="*/ 5 w 81"/>
                <a:gd name="T7" fmla="*/ 0 h 11"/>
                <a:gd name="T8" fmla="*/ 75 w 81"/>
                <a:gd name="T9" fmla="*/ 0 h 11"/>
                <a:gd name="T10" fmla="*/ 81 w 81"/>
                <a:gd name="T11" fmla="*/ 5 h 11"/>
                <a:gd name="T12" fmla="*/ 75 w 8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1">
                  <a:moveTo>
                    <a:pt x="75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9" y="0"/>
                    <a:pt x="81" y="2"/>
                    <a:pt x="81" y="5"/>
                  </a:cubicBezTo>
                  <a:cubicBezTo>
                    <a:pt x="81" y="8"/>
                    <a:pt x="79" y="11"/>
                    <a:pt x="7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2" name="Freeform 1436">
              <a:extLst>
                <a:ext uri="{FF2B5EF4-FFF2-40B4-BE49-F238E27FC236}">
                  <a16:creationId xmlns:a16="http://schemas.microsoft.com/office/drawing/2014/main" id="{8694A250-D08B-FE71-37DD-F1F653C3C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1937" y="1113800"/>
              <a:ext cx="11113" cy="76199"/>
            </a:xfrm>
            <a:custGeom>
              <a:avLst/>
              <a:gdLst>
                <a:gd name="T0" fmla="*/ 5 w 11"/>
                <a:gd name="T1" fmla="*/ 72 h 72"/>
                <a:gd name="T2" fmla="*/ 0 w 11"/>
                <a:gd name="T3" fmla="*/ 67 h 72"/>
                <a:gd name="T4" fmla="*/ 0 w 11"/>
                <a:gd name="T5" fmla="*/ 6 h 72"/>
                <a:gd name="T6" fmla="*/ 5 w 11"/>
                <a:gd name="T7" fmla="*/ 0 h 72"/>
                <a:gd name="T8" fmla="*/ 11 w 11"/>
                <a:gd name="T9" fmla="*/ 6 h 72"/>
                <a:gd name="T10" fmla="*/ 11 w 11"/>
                <a:gd name="T11" fmla="*/ 67 h 72"/>
                <a:gd name="T12" fmla="*/ 5 w 11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2">
                  <a:moveTo>
                    <a:pt x="5" y="72"/>
                  </a:moveTo>
                  <a:cubicBezTo>
                    <a:pt x="2" y="72"/>
                    <a:pt x="0" y="70"/>
                    <a:pt x="0" y="6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70"/>
                    <a:pt x="9" y="72"/>
                    <a:pt x="5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3" name="Freeform 1437">
              <a:extLst>
                <a:ext uri="{FF2B5EF4-FFF2-40B4-BE49-F238E27FC236}">
                  <a16:creationId xmlns:a16="http://schemas.microsoft.com/office/drawing/2014/main" id="{58B56831-2A55-DE6B-1EFB-26BBACB4E2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3850" y="1002677"/>
              <a:ext cx="60325" cy="61913"/>
            </a:xfrm>
            <a:custGeom>
              <a:avLst/>
              <a:gdLst>
                <a:gd name="T0" fmla="*/ 29 w 58"/>
                <a:gd name="T1" fmla="*/ 59 h 59"/>
                <a:gd name="T2" fmla="*/ 0 w 58"/>
                <a:gd name="T3" fmla="*/ 30 h 59"/>
                <a:gd name="T4" fmla="*/ 29 w 58"/>
                <a:gd name="T5" fmla="*/ 0 h 59"/>
                <a:gd name="T6" fmla="*/ 58 w 58"/>
                <a:gd name="T7" fmla="*/ 30 h 59"/>
                <a:gd name="T8" fmla="*/ 29 w 58"/>
                <a:gd name="T9" fmla="*/ 59 h 59"/>
                <a:gd name="T10" fmla="*/ 29 w 58"/>
                <a:gd name="T11" fmla="*/ 11 h 59"/>
                <a:gd name="T12" fmla="*/ 11 w 58"/>
                <a:gd name="T13" fmla="*/ 30 h 59"/>
                <a:gd name="T14" fmla="*/ 29 w 58"/>
                <a:gd name="T15" fmla="*/ 48 h 59"/>
                <a:gd name="T16" fmla="*/ 47 w 58"/>
                <a:gd name="T17" fmla="*/ 30 h 59"/>
                <a:gd name="T18" fmla="*/ 29 w 58"/>
                <a:gd name="T19" fmla="*/ 1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59">
                  <a:moveTo>
                    <a:pt x="29" y="59"/>
                  </a:moveTo>
                  <a:cubicBezTo>
                    <a:pt x="13" y="59"/>
                    <a:pt x="0" y="46"/>
                    <a:pt x="0" y="30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8" y="13"/>
                    <a:pt x="58" y="30"/>
                  </a:cubicBezTo>
                  <a:cubicBezTo>
                    <a:pt x="58" y="46"/>
                    <a:pt x="45" y="59"/>
                    <a:pt x="29" y="59"/>
                  </a:cubicBezTo>
                  <a:close/>
                  <a:moveTo>
                    <a:pt x="29" y="11"/>
                  </a:moveTo>
                  <a:cubicBezTo>
                    <a:pt x="19" y="11"/>
                    <a:pt x="11" y="20"/>
                    <a:pt x="11" y="30"/>
                  </a:cubicBezTo>
                  <a:cubicBezTo>
                    <a:pt x="11" y="40"/>
                    <a:pt x="19" y="48"/>
                    <a:pt x="29" y="48"/>
                  </a:cubicBezTo>
                  <a:cubicBezTo>
                    <a:pt x="39" y="48"/>
                    <a:pt x="47" y="40"/>
                    <a:pt x="47" y="30"/>
                  </a:cubicBezTo>
                  <a:cubicBezTo>
                    <a:pt x="47" y="20"/>
                    <a:pt x="39" y="11"/>
                    <a:pt x="2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4" name="Freeform 1438">
              <a:extLst>
                <a:ext uri="{FF2B5EF4-FFF2-40B4-BE49-F238E27FC236}">
                  <a16:creationId xmlns:a16="http://schemas.microsoft.com/office/drawing/2014/main" id="{DE8CE408-074E-4731-EA1B-5994B4A87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8637" y="1207464"/>
              <a:ext cx="11113" cy="100013"/>
            </a:xfrm>
            <a:custGeom>
              <a:avLst/>
              <a:gdLst>
                <a:gd name="T0" fmla="*/ 6 w 11"/>
                <a:gd name="T1" fmla="*/ 96 h 96"/>
                <a:gd name="T2" fmla="*/ 0 w 11"/>
                <a:gd name="T3" fmla="*/ 91 h 96"/>
                <a:gd name="T4" fmla="*/ 0 w 11"/>
                <a:gd name="T5" fmla="*/ 5 h 96"/>
                <a:gd name="T6" fmla="*/ 6 w 11"/>
                <a:gd name="T7" fmla="*/ 0 h 96"/>
                <a:gd name="T8" fmla="*/ 11 w 11"/>
                <a:gd name="T9" fmla="*/ 5 h 96"/>
                <a:gd name="T10" fmla="*/ 11 w 11"/>
                <a:gd name="T11" fmla="*/ 91 h 96"/>
                <a:gd name="T12" fmla="*/ 6 w 11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6">
                  <a:moveTo>
                    <a:pt x="6" y="96"/>
                  </a:moveTo>
                  <a:cubicBezTo>
                    <a:pt x="3" y="96"/>
                    <a:pt x="0" y="94"/>
                    <a:pt x="0" y="9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4"/>
                    <a:pt x="9" y="96"/>
                    <a:pt x="6" y="9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5" name="Freeform 1439">
              <a:extLst>
                <a:ext uri="{FF2B5EF4-FFF2-40B4-BE49-F238E27FC236}">
                  <a16:creationId xmlns:a16="http://schemas.microsoft.com/office/drawing/2014/main" id="{71B826B5-2270-B36B-D4AC-64C315B062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5313" y="1072526"/>
              <a:ext cx="206375" cy="252412"/>
            </a:xfrm>
            <a:custGeom>
              <a:avLst/>
              <a:gdLst>
                <a:gd name="T0" fmla="*/ 86 w 198"/>
                <a:gd name="T1" fmla="*/ 243 h 243"/>
                <a:gd name="T2" fmla="*/ 71 w 198"/>
                <a:gd name="T3" fmla="*/ 237 h 243"/>
                <a:gd name="T4" fmla="*/ 69 w 198"/>
                <a:gd name="T5" fmla="*/ 235 h 243"/>
                <a:gd name="T6" fmla="*/ 67 w 198"/>
                <a:gd name="T7" fmla="*/ 237 h 243"/>
                <a:gd name="T8" fmla="*/ 49 w 198"/>
                <a:gd name="T9" fmla="*/ 243 h 243"/>
                <a:gd name="T10" fmla="*/ 28 w 198"/>
                <a:gd name="T11" fmla="*/ 219 h 243"/>
                <a:gd name="T12" fmla="*/ 28 w 198"/>
                <a:gd name="T13" fmla="*/ 125 h 243"/>
                <a:gd name="T14" fmla="*/ 21 w 198"/>
                <a:gd name="T15" fmla="*/ 127 h 243"/>
                <a:gd name="T16" fmla="*/ 6 w 198"/>
                <a:gd name="T17" fmla="*/ 122 h 243"/>
                <a:gd name="T18" fmla="*/ 0 w 198"/>
                <a:gd name="T19" fmla="*/ 107 h 243"/>
                <a:gd name="T20" fmla="*/ 0 w 198"/>
                <a:gd name="T21" fmla="*/ 33 h 243"/>
                <a:gd name="T22" fmla="*/ 33 w 198"/>
                <a:gd name="T23" fmla="*/ 0 h 243"/>
                <a:gd name="T24" fmla="*/ 104 w 198"/>
                <a:gd name="T25" fmla="*/ 0 h 243"/>
                <a:gd name="T26" fmla="*/ 123 w 198"/>
                <a:gd name="T27" fmla="*/ 7 h 243"/>
                <a:gd name="T28" fmla="*/ 153 w 198"/>
                <a:gd name="T29" fmla="*/ 30 h 243"/>
                <a:gd name="T30" fmla="*/ 185 w 198"/>
                <a:gd name="T31" fmla="*/ 40 h 243"/>
                <a:gd name="T32" fmla="*/ 195 w 198"/>
                <a:gd name="T33" fmla="*/ 49 h 243"/>
                <a:gd name="T34" fmla="*/ 196 w 198"/>
                <a:gd name="T35" fmla="*/ 64 h 243"/>
                <a:gd name="T36" fmla="*/ 176 w 198"/>
                <a:gd name="T37" fmla="*/ 75 h 243"/>
                <a:gd name="T38" fmla="*/ 157 w 198"/>
                <a:gd name="T39" fmla="*/ 72 h 243"/>
                <a:gd name="T40" fmla="*/ 123 w 198"/>
                <a:gd name="T41" fmla="*/ 60 h 243"/>
                <a:gd name="T42" fmla="*/ 109 w 198"/>
                <a:gd name="T43" fmla="*/ 54 h 243"/>
                <a:gd name="T44" fmla="*/ 109 w 198"/>
                <a:gd name="T45" fmla="*/ 106 h 243"/>
                <a:gd name="T46" fmla="*/ 109 w 198"/>
                <a:gd name="T47" fmla="*/ 107 h 243"/>
                <a:gd name="T48" fmla="*/ 109 w 198"/>
                <a:gd name="T49" fmla="*/ 219 h 243"/>
                <a:gd name="T50" fmla="*/ 89 w 198"/>
                <a:gd name="T51" fmla="*/ 243 h 243"/>
                <a:gd name="T52" fmla="*/ 86 w 198"/>
                <a:gd name="T53" fmla="*/ 243 h 243"/>
                <a:gd name="T54" fmla="*/ 39 w 198"/>
                <a:gd name="T55" fmla="*/ 107 h 243"/>
                <a:gd name="T56" fmla="*/ 39 w 198"/>
                <a:gd name="T57" fmla="*/ 219 h 243"/>
                <a:gd name="T58" fmla="*/ 50 w 198"/>
                <a:gd name="T59" fmla="*/ 232 h 243"/>
                <a:gd name="T60" fmla="*/ 59 w 198"/>
                <a:gd name="T61" fmla="*/ 229 h 243"/>
                <a:gd name="T62" fmla="*/ 63 w 198"/>
                <a:gd name="T63" fmla="*/ 220 h 243"/>
                <a:gd name="T64" fmla="*/ 69 w 198"/>
                <a:gd name="T65" fmla="*/ 214 h 243"/>
                <a:gd name="T66" fmla="*/ 74 w 198"/>
                <a:gd name="T67" fmla="*/ 220 h 243"/>
                <a:gd name="T68" fmla="*/ 78 w 198"/>
                <a:gd name="T69" fmla="*/ 229 h 243"/>
                <a:gd name="T70" fmla="*/ 88 w 198"/>
                <a:gd name="T71" fmla="*/ 232 h 243"/>
                <a:gd name="T72" fmla="*/ 98 w 198"/>
                <a:gd name="T73" fmla="*/ 219 h 243"/>
                <a:gd name="T74" fmla="*/ 98 w 198"/>
                <a:gd name="T75" fmla="*/ 107 h 243"/>
                <a:gd name="T76" fmla="*/ 98 w 198"/>
                <a:gd name="T77" fmla="*/ 107 h 243"/>
                <a:gd name="T78" fmla="*/ 98 w 198"/>
                <a:gd name="T79" fmla="*/ 46 h 243"/>
                <a:gd name="T80" fmla="*/ 101 w 198"/>
                <a:gd name="T81" fmla="*/ 41 h 243"/>
                <a:gd name="T82" fmla="*/ 106 w 198"/>
                <a:gd name="T83" fmla="*/ 41 h 243"/>
                <a:gd name="T84" fmla="*/ 127 w 198"/>
                <a:gd name="T85" fmla="*/ 50 h 243"/>
                <a:gd name="T86" fmla="*/ 159 w 198"/>
                <a:gd name="T87" fmla="*/ 61 h 243"/>
                <a:gd name="T88" fmla="*/ 178 w 198"/>
                <a:gd name="T89" fmla="*/ 64 h 243"/>
                <a:gd name="T90" fmla="*/ 186 w 198"/>
                <a:gd name="T91" fmla="*/ 60 h 243"/>
                <a:gd name="T92" fmla="*/ 186 w 198"/>
                <a:gd name="T93" fmla="*/ 54 h 243"/>
                <a:gd name="T94" fmla="*/ 181 w 198"/>
                <a:gd name="T95" fmla="*/ 51 h 243"/>
                <a:gd name="T96" fmla="*/ 149 w 198"/>
                <a:gd name="T97" fmla="*/ 40 h 243"/>
                <a:gd name="T98" fmla="*/ 147 w 198"/>
                <a:gd name="T99" fmla="*/ 39 h 243"/>
                <a:gd name="T100" fmla="*/ 117 w 198"/>
                <a:gd name="T101" fmla="*/ 16 h 243"/>
                <a:gd name="T102" fmla="*/ 104 w 198"/>
                <a:gd name="T103" fmla="*/ 11 h 243"/>
                <a:gd name="T104" fmla="*/ 33 w 198"/>
                <a:gd name="T105" fmla="*/ 11 h 243"/>
                <a:gd name="T106" fmla="*/ 11 w 198"/>
                <a:gd name="T107" fmla="*/ 33 h 243"/>
                <a:gd name="T108" fmla="*/ 11 w 198"/>
                <a:gd name="T109" fmla="*/ 107 h 243"/>
                <a:gd name="T110" fmla="*/ 14 w 198"/>
                <a:gd name="T111" fmla="*/ 114 h 243"/>
                <a:gd name="T112" fmla="*/ 20 w 198"/>
                <a:gd name="T113" fmla="*/ 116 h 243"/>
                <a:gd name="T114" fmla="*/ 28 w 198"/>
                <a:gd name="T115" fmla="*/ 107 h 243"/>
                <a:gd name="T116" fmla="*/ 33 w 198"/>
                <a:gd name="T117" fmla="*/ 101 h 243"/>
                <a:gd name="T118" fmla="*/ 39 w 198"/>
                <a:gd name="T119" fmla="*/ 107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8" h="243">
                  <a:moveTo>
                    <a:pt x="86" y="243"/>
                  </a:moveTo>
                  <a:cubicBezTo>
                    <a:pt x="81" y="243"/>
                    <a:pt x="75" y="241"/>
                    <a:pt x="71" y="237"/>
                  </a:cubicBezTo>
                  <a:cubicBezTo>
                    <a:pt x="70" y="236"/>
                    <a:pt x="69" y="235"/>
                    <a:pt x="69" y="235"/>
                  </a:cubicBezTo>
                  <a:cubicBezTo>
                    <a:pt x="68" y="235"/>
                    <a:pt x="67" y="236"/>
                    <a:pt x="67" y="237"/>
                  </a:cubicBezTo>
                  <a:cubicBezTo>
                    <a:pt x="62" y="241"/>
                    <a:pt x="55" y="243"/>
                    <a:pt x="49" y="243"/>
                  </a:cubicBezTo>
                  <a:cubicBezTo>
                    <a:pt x="37" y="241"/>
                    <a:pt x="28" y="231"/>
                    <a:pt x="28" y="219"/>
                  </a:cubicBezTo>
                  <a:cubicBezTo>
                    <a:pt x="28" y="125"/>
                    <a:pt x="28" y="125"/>
                    <a:pt x="28" y="125"/>
                  </a:cubicBezTo>
                  <a:cubicBezTo>
                    <a:pt x="26" y="126"/>
                    <a:pt x="24" y="126"/>
                    <a:pt x="21" y="127"/>
                  </a:cubicBezTo>
                  <a:cubicBezTo>
                    <a:pt x="16" y="127"/>
                    <a:pt x="10" y="125"/>
                    <a:pt x="6" y="122"/>
                  </a:cubicBezTo>
                  <a:cubicBezTo>
                    <a:pt x="2" y="118"/>
                    <a:pt x="0" y="113"/>
                    <a:pt x="0" y="107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11" y="0"/>
                    <a:pt x="118" y="2"/>
                    <a:pt x="123" y="7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85" y="40"/>
                    <a:pt x="185" y="40"/>
                    <a:pt x="185" y="40"/>
                  </a:cubicBezTo>
                  <a:cubicBezTo>
                    <a:pt x="189" y="42"/>
                    <a:pt x="193" y="45"/>
                    <a:pt x="195" y="49"/>
                  </a:cubicBezTo>
                  <a:cubicBezTo>
                    <a:pt x="198" y="54"/>
                    <a:pt x="198" y="59"/>
                    <a:pt x="196" y="64"/>
                  </a:cubicBezTo>
                  <a:cubicBezTo>
                    <a:pt x="193" y="72"/>
                    <a:pt x="184" y="77"/>
                    <a:pt x="176" y="75"/>
                  </a:cubicBezTo>
                  <a:cubicBezTo>
                    <a:pt x="157" y="72"/>
                    <a:pt x="157" y="72"/>
                    <a:pt x="157" y="72"/>
                  </a:cubicBezTo>
                  <a:cubicBezTo>
                    <a:pt x="145" y="69"/>
                    <a:pt x="134" y="65"/>
                    <a:pt x="123" y="60"/>
                  </a:cubicBezTo>
                  <a:cubicBezTo>
                    <a:pt x="109" y="54"/>
                    <a:pt x="109" y="54"/>
                    <a:pt x="109" y="54"/>
                  </a:cubicBezTo>
                  <a:cubicBezTo>
                    <a:pt x="109" y="106"/>
                    <a:pt x="109" y="106"/>
                    <a:pt x="109" y="106"/>
                  </a:cubicBezTo>
                  <a:cubicBezTo>
                    <a:pt x="109" y="106"/>
                    <a:pt x="109" y="107"/>
                    <a:pt x="109" y="107"/>
                  </a:cubicBezTo>
                  <a:cubicBezTo>
                    <a:pt x="109" y="219"/>
                    <a:pt x="109" y="219"/>
                    <a:pt x="109" y="219"/>
                  </a:cubicBezTo>
                  <a:cubicBezTo>
                    <a:pt x="109" y="231"/>
                    <a:pt x="100" y="241"/>
                    <a:pt x="89" y="243"/>
                  </a:cubicBezTo>
                  <a:cubicBezTo>
                    <a:pt x="88" y="243"/>
                    <a:pt x="87" y="243"/>
                    <a:pt x="86" y="243"/>
                  </a:cubicBezTo>
                  <a:close/>
                  <a:moveTo>
                    <a:pt x="39" y="107"/>
                  </a:moveTo>
                  <a:cubicBezTo>
                    <a:pt x="39" y="219"/>
                    <a:pt x="39" y="219"/>
                    <a:pt x="39" y="219"/>
                  </a:cubicBezTo>
                  <a:cubicBezTo>
                    <a:pt x="39" y="225"/>
                    <a:pt x="44" y="231"/>
                    <a:pt x="50" y="232"/>
                  </a:cubicBezTo>
                  <a:cubicBezTo>
                    <a:pt x="53" y="232"/>
                    <a:pt x="57" y="231"/>
                    <a:pt x="59" y="229"/>
                  </a:cubicBezTo>
                  <a:cubicBezTo>
                    <a:pt x="62" y="226"/>
                    <a:pt x="63" y="223"/>
                    <a:pt x="63" y="220"/>
                  </a:cubicBezTo>
                  <a:cubicBezTo>
                    <a:pt x="63" y="217"/>
                    <a:pt x="66" y="214"/>
                    <a:pt x="69" y="214"/>
                  </a:cubicBezTo>
                  <a:cubicBezTo>
                    <a:pt x="72" y="214"/>
                    <a:pt x="74" y="217"/>
                    <a:pt x="74" y="220"/>
                  </a:cubicBezTo>
                  <a:cubicBezTo>
                    <a:pt x="74" y="223"/>
                    <a:pt x="76" y="226"/>
                    <a:pt x="78" y="229"/>
                  </a:cubicBezTo>
                  <a:cubicBezTo>
                    <a:pt x="81" y="231"/>
                    <a:pt x="84" y="232"/>
                    <a:pt x="88" y="232"/>
                  </a:cubicBezTo>
                  <a:cubicBezTo>
                    <a:pt x="94" y="231"/>
                    <a:pt x="98" y="225"/>
                    <a:pt x="98" y="219"/>
                  </a:cubicBezTo>
                  <a:cubicBezTo>
                    <a:pt x="98" y="107"/>
                    <a:pt x="98" y="107"/>
                    <a:pt x="98" y="107"/>
                  </a:cubicBezTo>
                  <a:cubicBezTo>
                    <a:pt x="98" y="107"/>
                    <a:pt x="98" y="107"/>
                    <a:pt x="98" y="107"/>
                  </a:cubicBezTo>
                  <a:cubicBezTo>
                    <a:pt x="98" y="46"/>
                    <a:pt x="98" y="46"/>
                    <a:pt x="98" y="46"/>
                  </a:cubicBezTo>
                  <a:cubicBezTo>
                    <a:pt x="98" y="44"/>
                    <a:pt x="99" y="42"/>
                    <a:pt x="101" y="41"/>
                  </a:cubicBezTo>
                  <a:cubicBezTo>
                    <a:pt x="103" y="40"/>
                    <a:pt x="105" y="40"/>
                    <a:pt x="106" y="41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37" y="55"/>
                    <a:pt x="148" y="59"/>
                    <a:pt x="159" y="61"/>
                  </a:cubicBezTo>
                  <a:cubicBezTo>
                    <a:pt x="178" y="64"/>
                    <a:pt x="178" y="64"/>
                    <a:pt x="178" y="64"/>
                  </a:cubicBezTo>
                  <a:cubicBezTo>
                    <a:pt x="181" y="65"/>
                    <a:pt x="185" y="63"/>
                    <a:pt x="186" y="60"/>
                  </a:cubicBezTo>
                  <a:cubicBezTo>
                    <a:pt x="187" y="58"/>
                    <a:pt x="186" y="56"/>
                    <a:pt x="186" y="54"/>
                  </a:cubicBezTo>
                  <a:cubicBezTo>
                    <a:pt x="185" y="52"/>
                    <a:pt x="183" y="51"/>
                    <a:pt x="181" y="51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48" y="40"/>
                    <a:pt x="148" y="40"/>
                    <a:pt x="147" y="39"/>
                  </a:cubicBezTo>
                  <a:cubicBezTo>
                    <a:pt x="117" y="16"/>
                    <a:pt x="117" y="16"/>
                    <a:pt x="117" y="16"/>
                  </a:cubicBezTo>
                  <a:cubicBezTo>
                    <a:pt x="113" y="13"/>
                    <a:pt x="108" y="11"/>
                    <a:pt x="104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21" y="11"/>
                    <a:pt x="11" y="21"/>
                    <a:pt x="11" y="33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1" y="110"/>
                    <a:pt x="12" y="112"/>
                    <a:pt x="14" y="114"/>
                  </a:cubicBezTo>
                  <a:cubicBezTo>
                    <a:pt x="16" y="115"/>
                    <a:pt x="18" y="116"/>
                    <a:pt x="20" y="116"/>
                  </a:cubicBezTo>
                  <a:cubicBezTo>
                    <a:pt x="25" y="115"/>
                    <a:pt x="28" y="111"/>
                    <a:pt x="28" y="107"/>
                  </a:cubicBezTo>
                  <a:cubicBezTo>
                    <a:pt x="28" y="104"/>
                    <a:pt x="30" y="101"/>
                    <a:pt x="33" y="101"/>
                  </a:cubicBezTo>
                  <a:cubicBezTo>
                    <a:pt x="37" y="101"/>
                    <a:pt x="39" y="104"/>
                    <a:pt x="39" y="1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6" name="Freeform 1440">
              <a:extLst>
                <a:ext uri="{FF2B5EF4-FFF2-40B4-BE49-F238E27FC236}">
                  <a16:creationId xmlns:a16="http://schemas.microsoft.com/office/drawing/2014/main" id="{E295E944-2222-8B23-FA7E-4340B0615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5150" y="1072526"/>
              <a:ext cx="84138" cy="11113"/>
            </a:xfrm>
            <a:custGeom>
              <a:avLst/>
              <a:gdLst>
                <a:gd name="T0" fmla="*/ 76 w 81"/>
                <a:gd name="T1" fmla="*/ 11 h 11"/>
                <a:gd name="T2" fmla="*/ 5 w 81"/>
                <a:gd name="T3" fmla="*/ 11 h 11"/>
                <a:gd name="T4" fmla="*/ 0 w 81"/>
                <a:gd name="T5" fmla="*/ 5 h 11"/>
                <a:gd name="T6" fmla="*/ 5 w 81"/>
                <a:gd name="T7" fmla="*/ 0 h 11"/>
                <a:gd name="T8" fmla="*/ 76 w 81"/>
                <a:gd name="T9" fmla="*/ 0 h 11"/>
                <a:gd name="T10" fmla="*/ 81 w 81"/>
                <a:gd name="T11" fmla="*/ 5 h 11"/>
                <a:gd name="T12" fmla="*/ 76 w 8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1">
                  <a:moveTo>
                    <a:pt x="76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9" y="0"/>
                    <a:pt x="81" y="2"/>
                    <a:pt x="81" y="5"/>
                  </a:cubicBezTo>
                  <a:cubicBezTo>
                    <a:pt x="81" y="8"/>
                    <a:pt x="79" y="11"/>
                    <a:pt x="7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7" name="Freeform 1441">
              <a:extLst>
                <a:ext uri="{FF2B5EF4-FFF2-40B4-BE49-F238E27FC236}">
                  <a16:creationId xmlns:a16="http://schemas.microsoft.com/office/drawing/2014/main" id="{73E81B1F-5FC5-DEC7-5DC0-0BF378491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5149" y="1113801"/>
              <a:ext cx="11113" cy="76199"/>
            </a:xfrm>
            <a:custGeom>
              <a:avLst/>
              <a:gdLst>
                <a:gd name="T0" fmla="*/ 5 w 11"/>
                <a:gd name="T1" fmla="*/ 72 h 72"/>
                <a:gd name="T2" fmla="*/ 0 w 11"/>
                <a:gd name="T3" fmla="*/ 67 h 72"/>
                <a:gd name="T4" fmla="*/ 0 w 11"/>
                <a:gd name="T5" fmla="*/ 6 h 72"/>
                <a:gd name="T6" fmla="*/ 5 w 11"/>
                <a:gd name="T7" fmla="*/ 0 h 72"/>
                <a:gd name="T8" fmla="*/ 11 w 11"/>
                <a:gd name="T9" fmla="*/ 6 h 72"/>
                <a:gd name="T10" fmla="*/ 11 w 11"/>
                <a:gd name="T11" fmla="*/ 67 h 72"/>
                <a:gd name="T12" fmla="*/ 5 w 11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2">
                  <a:moveTo>
                    <a:pt x="5" y="72"/>
                  </a:moveTo>
                  <a:cubicBezTo>
                    <a:pt x="2" y="72"/>
                    <a:pt x="0" y="70"/>
                    <a:pt x="0" y="6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70"/>
                    <a:pt x="9" y="72"/>
                    <a:pt x="5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8" name="Freeform 1442">
              <a:extLst>
                <a:ext uri="{FF2B5EF4-FFF2-40B4-BE49-F238E27FC236}">
                  <a16:creationId xmlns:a16="http://schemas.microsoft.com/office/drawing/2014/main" id="{BEF41286-279D-F0AF-878B-4201D31657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52450" y="1002680"/>
              <a:ext cx="58738" cy="61913"/>
            </a:xfrm>
            <a:custGeom>
              <a:avLst/>
              <a:gdLst>
                <a:gd name="T0" fmla="*/ 29 w 58"/>
                <a:gd name="T1" fmla="*/ 59 h 59"/>
                <a:gd name="T2" fmla="*/ 0 w 58"/>
                <a:gd name="T3" fmla="*/ 30 h 59"/>
                <a:gd name="T4" fmla="*/ 29 w 58"/>
                <a:gd name="T5" fmla="*/ 0 h 59"/>
                <a:gd name="T6" fmla="*/ 58 w 58"/>
                <a:gd name="T7" fmla="*/ 30 h 59"/>
                <a:gd name="T8" fmla="*/ 29 w 58"/>
                <a:gd name="T9" fmla="*/ 59 h 59"/>
                <a:gd name="T10" fmla="*/ 29 w 58"/>
                <a:gd name="T11" fmla="*/ 11 h 59"/>
                <a:gd name="T12" fmla="*/ 11 w 58"/>
                <a:gd name="T13" fmla="*/ 30 h 59"/>
                <a:gd name="T14" fmla="*/ 29 w 58"/>
                <a:gd name="T15" fmla="*/ 48 h 59"/>
                <a:gd name="T16" fmla="*/ 47 w 58"/>
                <a:gd name="T17" fmla="*/ 30 h 59"/>
                <a:gd name="T18" fmla="*/ 29 w 58"/>
                <a:gd name="T19" fmla="*/ 1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59">
                  <a:moveTo>
                    <a:pt x="29" y="59"/>
                  </a:moveTo>
                  <a:cubicBezTo>
                    <a:pt x="13" y="59"/>
                    <a:pt x="0" y="46"/>
                    <a:pt x="0" y="30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8" y="13"/>
                    <a:pt x="58" y="30"/>
                  </a:cubicBezTo>
                  <a:cubicBezTo>
                    <a:pt x="58" y="46"/>
                    <a:pt x="45" y="59"/>
                    <a:pt x="29" y="59"/>
                  </a:cubicBezTo>
                  <a:close/>
                  <a:moveTo>
                    <a:pt x="29" y="11"/>
                  </a:moveTo>
                  <a:cubicBezTo>
                    <a:pt x="19" y="11"/>
                    <a:pt x="11" y="20"/>
                    <a:pt x="11" y="30"/>
                  </a:cubicBezTo>
                  <a:cubicBezTo>
                    <a:pt x="11" y="40"/>
                    <a:pt x="19" y="48"/>
                    <a:pt x="29" y="48"/>
                  </a:cubicBezTo>
                  <a:cubicBezTo>
                    <a:pt x="39" y="48"/>
                    <a:pt x="47" y="40"/>
                    <a:pt x="47" y="30"/>
                  </a:cubicBezTo>
                  <a:cubicBezTo>
                    <a:pt x="47" y="20"/>
                    <a:pt x="39" y="11"/>
                    <a:pt x="2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19" name="Shape65_20200717_142846">
            <a:extLst>
              <a:ext uri="{FF2B5EF4-FFF2-40B4-BE49-F238E27FC236}">
                <a16:creationId xmlns:a16="http://schemas.microsoft.com/office/drawing/2014/main" id="{45DEA2F1-3088-5F65-FC0C-BD21936FEAC9}"/>
              </a:ext>
            </a:extLst>
          </p:cNvPr>
          <p:cNvGrpSpPr>
            <a:grpSpLocks noChangeAspect="1"/>
          </p:cNvGrpSpPr>
          <p:nvPr/>
        </p:nvGrpSpPr>
        <p:grpSpPr>
          <a:xfrm>
            <a:off x="7125691" y="5185949"/>
            <a:ext cx="551741" cy="508540"/>
            <a:chOff x="-1303345" y="2906705"/>
            <a:chExt cx="365132" cy="336539"/>
          </a:xfrm>
          <a:solidFill>
            <a:schemeClr val="accent1"/>
          </a:solidFill>
        </p:grpSpPr>
        <p:sp>
          <p:nvSpPr>
            <p:cNvPr id="120" name="Freeform 450">
              <a:extLst>
                <a:ext uri="{FF2B5EF4-FFF2-40B4-BE49-F238E27FC236}">
                  <a16:creationId xmlns:a16="http://schemas.microsoft.com/office/drawing/2014/main" id="{AF5788EA-CEF1-4053-16AE-3843E7D25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16034" y="2967022"/>
              <a:ext cx="66675" cy="95249"/>
            </a:xfrm>
            <a:custGeom>
              <a:avLst/>
              <a:gdLst>
                <a:gd name="T0" fmla="*/ 14 w 29"/>
                <a:gd name="T1" fmla="*/ 42 h 42"/>
                <a:gd name="T2" fmla="*/ 0 w 29"/>
                <a:gd name="T3" fmla="*/ 35 h 42"/>
                <a:gd name="T4" fmla="*/ 1 w 29"/>
                <a:gd name="T5" fmla="*/ 32 h 42"/>
                <a:gd name="T6" fmla="*/ 4 w 29"/>
                <a:gd name="T7" fmla="*/ 32 h 42"/>
                <a:gd name="T8" fmla="*/ 20 w 29"/>
                <a:gd name="T9" fmla="*/ 36 h 42"/>
                <a:gd name="T10" fmla="*/ 20 w 29"/>
                <a:gd name="T11" fmla="*/ 36 h 42"/>
                <a:gd name="T12" fmla="*/ 23 w 29"/>
                <a:gd name="T13" fmla="*/ 30 h 42"/>
                <a:gd name="T14" fmla="*/ 18 w 29"/>
                <a:gd name="T15" fmla="*/ 24 h 42"/>
                <a:gd name="T16" fmla="*/ 8 w 29"/>
                <a:gd name="T17" fmla="*/ 21 h 42"/>
                <a:gd name="T18" fmla="*/ 0 w 29"/>
                <a:gd name="T19" fmla="*/ 10 h 42"/>
                <a:gd name="T20" fmla="*/ 14 w 29"/>
                <a:gd name="T21" fmla="*/ 0 h 42"/>
                <a:gd name="T22" fmla="*/ 28 w 29"/>
                <a:gd name="T23" fmla="*/ 9 h 42"/>
                <a:gd name="T24" fmla="*/ 26 w 29"/>
                <a:gd name="T25" fmla="*/ 12 h 42"/>
                <a:gd name="T26" fmla="*/ 23 w 29"/>
                <a:gd name="T27" fmla="*/ 11 h 42"/>
                <a:gd name="T28" fmla="*/ 14 w 29"/>
                <a:gd name="T29" fmla="*/ 5 h 42"/>
                <a:gd name="T30" fmla="*/ 5 w 29"/>
                <a:gd name="T31" fmla="*/ 11 h 42"/>
                <a:gd name="T32" fmla="*/ 10 w 29"/>
                <a:gd name="T33" fmla="*/ 16 h 42"/>
                <a:gd name="T34" fmla="*/ 20 w 29"/>
                <a:gd name="T35" fmla="*/ 19 h 42"/>
                <a:gd name="T36" fmla="*/ 28 w 29"/>
                <a:gd name="T37" fmla="*/ 29 h 42"/>
                <a:gd name="T38" fmla="*/ 22 w 29"/>
                <a:gd name="T39" fmla="*/ 40 h 42"/>
                <a:gd name="T40" fmla="*/ 14 w 29"/>
                <a:gd name="T4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" h="42">
                  <a:moveTo>
                    <a:pt x="14" y="42"/>
                  </a:moveTo>
                  <a:cubicBezTo>
                    <a:pt x="9" y="42"/>
                    <a:pt x="4" y="41"/>
                    <a:pt x="0" y="35"/>
                  </a:cubicBezTo>
                  <a:cubicBezTo>
                    <a:pt x="0" y="34"/>
                    <a:pt x="0" y="33"/>
                    <a:pt x="1" y="32"/>
                  </a:cubicBezTo>
                  <a:cubicBezTo>
                    <a:pt x="2" y="31"/>
                    <a:pt x="4" y="31"/>
                    <a:pt x="4" y="32"/>
                  </a:cubicBezTo>
                  <a:cubicBezTo>
                    <a:pt x="11" y="40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4" y="34"/>
                    <a:pt x="23" y="30"/>
                  </a:cubicBezTo>
                  <a:cubicBezTo>
                    <a:pt x="23" y="25"/>
                    <a:pt x="18" y="24"/>
                    <a:pt x="18" y="24"/>
                  </a:cubicBezTo>
                  <a:cubicBezTo>
                    <a:pt x="18" y="24"/>
                    <a:pt x="13" y="22"/>
                    <a:pt x="8" y="21"/>
                  </a:cubicBezTo>
                  <a:cubicBezTo>
                    <a:pt x="3" y="19"/>
                    <a:pt x="0" y="16"/>
                    <a:pt x="0" y="10"/>
                  </a:cubicBezTo>
                  <a:cubicBezTo>
                    <a:pt x="0" y="8"/>
                    <a:pt x="1" y="0"/>
                    <a:pt x="14" y="0"/>
                  </a:cubicBezTo>
                  <a:cubicBezTo>
                    <a:pt x="23" y="0"/>
                    <a:pt x="27" y="6"/>
                    <a:pt x="28" y="9"/>
                  </a:cubicBezTo>
                  <a:cubicBezTo>
                    <a:pt x="28" y="11"/>
                    <a:pt x="28" y="12"/>
                    <a:pt x="26" y="12"/>
                  </a:cubicBezTo>
                  <a:cubicBezTo>
                    <a:pt x="25" y="13"/>
                    <a:pt x="24" y="12"/>
                    <a:pt x="23" y="11"/>
                  </a:cubicBezTo>
                  <a:cubicBezTo>
                    <a:pt x="23" y="10"/>
                    <a:pt x="22" y="5"/>
                    <a:pt x="14" y="5"/>
                  </a:cubicBezTo>
                  <a:cubicBezTo>
                    <a:pt x="8" y="5"/>
                    <a:pt x="5" y="7"/>
                    <a:pt x="5" y="11"/>
                  </a:cubicBezTo>
                  <a:cubicBezTo>
                    <a:pt x="5" y="13"/>
                    <a:pt x="6" y="15"/>
                    <a:pt x="10" y="16"/>
                  </a:cubicBezTo>
                  <a:cubicBezTo>
                    <a:pt x="15" y="18"/>
                    <a:pt x="20" y="19"/>
                    <a:pt x="20" y="19"/>
                  </a:cubicBezTo>
                  <a:cubicBezTo>
                    <a:pt x="20" y="19"/>
                    <a:pt x="27" y="21"/>
                    <a:pt x="28" y="29"/>
                  </a:cubicBezTo>
                  <a:cubicBezTo>
                    <a:pt x="29" y="36"/>
                    <a:pt x="24" y="39"/>
                    <a:pt x="22" y="40"/>
                  </a:cubicBezTo>
                  <a:cubicBezTo>
                    <a:pt x="20" y="41"/>
                    <a:pt x="17" y="42"/>
                    <a:pt x="14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1" name="Freeform 451">
              <a:extLst>
                <a:ext uri="{FF2B5EF4-FFF2-40B4-BE49-F238E27FC236}">
                  <a16:creationId xmlns:a16="http://schemas.microsoft.com/office/drawing/2014/main" id="{AEC7EDB0-C3EA-904A-DB9E-9711C72FC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89045" y="2949560"/>
              <a:ext cx="11113" cy="30163"/>
            </a:xfrm>
            <a:custGeom>
              <a:avLst/>
              <a:gdLst>
                <a:gd name="T0" fmla="*/ 2 w 5"/>
                <a:gd name="T1" fmla="*/ 13 h 13"/>
                <a:gd name="T2" fmla="*/ 0 w 5"/>
                <a:gd name="T3" fmla="*/ 10 h 13"/>
                <a:gd name="T4" fmla="*/ 0 w 5"/>
                <a:gd name="T5" fmla="*/ 3 h 13"/>
                <a:gd name="T6" fmla="*/ 2 w 5"/>
                <a:gd name="T7" fmla="*/ 0 h 13"/>
                <a:gd name="T8" fmla="*/ 5 w 5"/>
                <a:gd name="T9" fmla="*/ 3 h 13"/>
                <a:gd name="T10" fmla="*/ 5 w 5"/>
                <a:gd name="T11" fmla="*/ 10 h 13"/>
                <a:gd name="T12" fmla="*/ 2 w 5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3">
                  <a:moveTo>
                    <a:pt x="2" y="13"/>
                  </a:moveTo>
                  <a:cubicBezTo>
                    <a:pt x="1" y="13"/>
                    <a:pt x="0" y="12"/>
                    <a:pt x="0" y="1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2"/>
                    <a:pt x="4" y="13"/>
                    <a:pt x="2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2" name="Freeform 452">
              <a:extLst>
                <a:ext uri="{FF2B5EF4-FFF2-40B4-BE49-F238E27FC236}">
                  <a16:creationId xmlns:a16="http://schemas.microsoft.com/office/drawing/2014/main" id="{59AF6CFE-FDFA-99DB-6B27-7B612FF345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89045" y="3054334"/>
              <a:ext cx="11113" cy="26988"/>
            </a:xfrm>
            <a:custGeom>
              <a:avLst/>
              <a:gdLst>
                <a:gd name="T0" fmla="*/ 2 w 5"/>
                <a:gd name="T1" fmla="*/ 12 h 12"/>
                <a:gd name="T2" fmla="*/ 0 w 5"/>
                <a:gd name="T3" fmla="*/ 10 h 12"/>
                <a:gd name="T4" fmla="*/ 0 w 5"/>
                <a:gd name="T5" fmla="*/ 2 h 12"/>
                <a:gd name="T6" fmla="*/ 2 w 5"/>
                <a:gd name="T7" fmla="*/ 0 h 12"/>
                <a:gd name="T8" fmla="*/ 5 w 5"/>
                <a:gd name="T9" fmla="*/ 2 h 12"/>
                <a:gd name="T10" fmla="*/ 5 w 5"/>
                <a:gd name="T11" fmla="*/ 10 h 12"/>
                <a:gd name="T12" fmla="*/ 2 w 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2">
                  <a:moveTo>
                    <a:pt x="2" y="12"/>
                  </a:moveTo>
                  <a:cubicBezTo>
                    <a:pt x="1" y="12"/>
                    <a:pt x="0" y="11"/>
                    <a:pt x="0" y="1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1"/>
                    <a:pt x="4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3" name="Freeform 453">
              <a:extLst>
                <a:ext uri="{FF2B5EF4-FFF2-40B4-BE49-F238E27FC236}">
                  <a16:creationId xmlns:a16="http://schemas.microsoft.com/office/drawing/2014/main" id="{6A38F9E7-7A30-773A-0020-6E936D220B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290646" y="2908285"/>
              <a:ext cx="212726" cy="212724"/>
            </a:xfrm>
            <a:custGeom>
              <a:avLst/>
              <a:gdLst>
                <a:gd name="T0" fmla="*/ 47 w 94"/>
                <a:gd name="T1" fmla="*/ 94 h 94"/>
                <a:gd name="T2" fmla="*/ 0 w 94"/>
                <a:gd name="T3" fmla="*/ 47 h 94"/>
                <a:gd name="T4" fmla="*/ 47 w 94"/>
                <a:gd name="T5" fmla="*/ 0 h 94"/>
                <a:gd name="T6" fmla="*/ 94 w 94"/>
                <a:gd name="T7" fmla="*/ 47 h 94"/>
                <a:gd name="T8" fmla="*/ 47 w 94"/>
                <a:gd name="T9" fmla="*/ 94 h 94"/>
                <a:gd name="T10" fmla="*/ 47 w 94"/>
                <a:gd name="T11" fmla="*/ 5 h 94"/>
                <a:gd name="T12" fmla="*/ 5 w 94"/>
                <a:gd name="T13" fmla="*/ 47 h 94"/>
                <a:gd name="T14" fmla="*/ 47 w 94"/>
                <a:gd name="T15" fmla="*/ 89 h 94"/>
                <a:gd name="T16" fmla="*/ 89 w 94"/>
                <a:gd name="T17" fmla="*/ 47 h 94"/>
                <a:gd name="T18" fmla="*/ 47 w 94"/>
                <a:gd name="T19" fmla="*/ 5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94">
                  <a:moveTo>
                    <a:pt x="47" y="94"/>
                  </a:moveTo>
                  <a:cubicBezTo>
                    <a:pt x="21" y="94"/>
                    <a:pt x="0" y="73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73" y="0"/>
                    <a:pt x="94" y="21"/>
                    <a:pt x="94" y="47"/>
                  </a:cubicBezTo>
                  <a:cubicBezTo>
                    <a:pt x="94" y="73"/>
                    <a:pt x="73" y="94"/>
                    <a:pt x="47" y="94"/>
                  </a:cubicBezTo>
                  <a:close/>
                  <a:moveTo>
                    <a:pt x="47" y="5"/>
                  </a:moveTo>
                  <a:cubicBezTo>
                    <a:pt x="24" y="5"/>
                    <a:pt x="5" y="24"/>
                    <a:pt x="5" y="47"/>
                  </a:cubicBezTo>
                  <a:cubicBezTo>
                    <a:pt x="5" y="70"/>
                    <a:pt x="24" y="89"/>
                    <a:pt x="47" y="89"/>
                  </a:cubicBezTo>
                  <a:cubicBezTo>
                    <a:pt x="70" y="89"/>
                    <a:pt x="89" y="70"/>
                    <a:pt x="89" y="47"/>
                  </a:cubicBezTo>
                  <a:cubicBezTo>
                    <a:pt x="89" y="24"/>
                    <a:pt x="70" y="5"/>
                    <a:pt x="47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4" name="Freeform 454">
              <a:extLst>
                <a:ext uri="{FF2B5EF4-FFF2-40B4-BE49-F238E27FC236}">
                  <a16:creationId xmlns:a16="http://schemas.microsoft.com/office/drawing/2014/main" id="{903B2634-E6D5-7A6C-8712-942E1FF58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63646" y="3028934"/>
              <a:ext cx="211139" cy="212724"/>
            </a:xfrm>
            <a:custGeom>
              <a:avLst/>
              <a:gdLst>
                <a:gd name="T0" fmla="*/ 47 w 94"/>
                <a:gd name="T1" fmla="*/ 94 h 94"/>
                <a:gd name="T2" fmla="*/ 0 w 94"/>
                <a:gd name="T3" fmla="*/ 47 h 94"/>
                <a:gd name="T4" fmla="*/ 1 w 94"/>
                <a:gd name="T5" fmla="*/ 39 h 94"/>
                <a:gd name="T6" fmla="*/ 4 w 94"/>
                <a:gd name="T7" fmla="*/ 37 h 94"/>
                <a:gd name="T8" fmla="*/ 6 w 94"/>
                <a:gd name="T9" fmla="*/ 40 h 94"/>
                <a:gd name="T10" fmla="*/ 5 w 94"/>
                <a:gd name="T11" fmla="*/ 47 h 94"/>
                <a:gd name="T12" fmla="*/ 47 w 94"/>
                <a:gd name="T13" fmla="*/ 89 h 94"/>
                <a:gd name="T14" fmla="*/ 89 w 94"/>
                <a:gd name="T15" fmla="*/ 47 h 94"/>
                <a:gd name="T16" fmla="*/ 47 w 94"/>
                <a:gd name="T17" fmla="*/ 4 h 94"/>
                <a:gd name="T18" fmla="*/ 36 w 94"/>
                <a:gd name="T19" fmla="*/ 6 h 94"/>
                <a:gd name="T20" fmla="*/ 33 w 94"/>
                <a:gd name="T21" fmla="*/ 4 h 94"/>
                <a:gd name="T22" fmla="*/ 35 w 94"/>
                <a:gd name="T23" fmla="*/ 1 h 94"/>
                <a:gd name="T24" fmla="*/ 47 w 94"/>
                <a:gd name="T25" fmla="*/ 0 h 94"/>
                <a:gd name="T26" fmla="*/ 94 w 94"/>
                <a:gd name="T27" fmla="*/ 47 h 94"/>
                <a:gd name="T28" fmla="*/ 47 w 94"/>
                <a:gd name="T2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94">
                  <a:moveTo>
                    <a:pt x="47" y="94"/>
                  </a:moveTo>
                  <a:cubicBezTo>
                    <a:pt x="21" y="94"/>
                    <a:pt x="0" y="72"/>
                    <a:pt x="0" y="47"/>
                  </a:cubicBezTo>
                  <a:cubicBezTo>
                    <a:pt x="0" y="44"/>
                    <a:pt x="0" y="41"/>
                    <a:pt x="1" y="39"/>
                  </a:cubicBezTo>
                  <a:cubicBezTo>
                    <a:pt x="1" y="37"/>
                    <a:pt x="2" y="37"/>
                    <a:pt x="4" y="37"/>
                  </a:cubicBezTo>
                  <a:cubicBezTo>
                    <a:pt x="5" y="37"/>
                    <a:pt x="6" y="38"/>
                    <a:pt x="6" y="40"/>
                  </a:cubicBezTo>
                  <a:cubicBezTo>
                    <a:pt x="5" y="42"/>
                    <a:pt x="5" y="44"/>
                    <a:pt x="5" y="47"/>
                  </a:cubicBezTo>
                  <a:cubicBezTo>
                    <a:pt x="5" y="70"/>
                    <a:pt x="24" y="89"/>
                    <a:pt x="47" y="89"/>
                  </a:cubicBezTo>
                  <a:cubicBezTo>
                    <a:pt x="70" y="89"/>
                    <a:pt x="89" y="70"/>
                    <a:pt x="89" y="47"/>
                  </a:cubicBezTo>
                  <a:cubicBezTo>
                    <a:pt x="89" y="23"/>
                    <a:pt x="70" y="4"/>
                    <a:pt x="47" y="4"/>
                  </a:cubicBezTo>
                  <a:cubicBezTo>
                    <a:pt x="43" y="4"/>
                    <a:pt x="40" y="5"/>
                    <a:pt x="36" y="6"/>
                  </a:cubicBezTo>
                  <a:cubicBezTo>
                    <a:pt x="35" y="6"/>
                    <a:pt x="34" y="5"/>
                    <a:pt x="33" y="4"/>
                  </a:cubicBezTo>
                  <a:cubicBezTo>
                    <a:pt x="33" y="3"/>
                    <a:pt x="34" y="1"/>
                    <a:pt x="35" y="1"/>
                  </a:cubicBezTo>
                  <a:cubicBezTo>
                    <a:pt x="39" y="0"/>
                    <a:pt x="43" y="0"/>
                    <a:pt x="47" y="0"/>
                  </a:cubicBezTo>
                  <a:cubicBezTo>
                    <a:pt x="73" y="0"/>
                    <a:pt x="94" y="21"/>
                    <a:pt x="94" y="47"/>
                  </a:cubicBezTo>
                  <a:cubicBezTo>
                    <a:pt x="94" y="72"/>
                    <a:pt x="73" y="94"/>
                    <a:pt x="47" y="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5" name="Freeform 455">
              <a:extLst>
                <a:ext uri="{FF2B5EF4-FFF2-40B4-BE49-F238E27FC236}">
                  <a16:creationId xmlns:a16="http://schemas.microsoft.com/office/drawing/2014/main" id="{5D862062-B408-E1BA-4040-CFEE7E25A86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06495" y="3081322"/>
              <a:ext cx="93664" cy="106362"/>
            </a:xfrm>
            <a:custGeom>
              <a:avLst/>
              <a:gdLst>
                <a:gd name="T0" fmla="*/ 24 w 42"/>
                <a:gd name="T1" fmla="*/ 47 h 47"/>
                <a:gd name="T2" fmla="*/ 0 w 42"/>
                <a:gd name="T3" fmla="*/ 24 h 47"/>
                <a:gd name="T4" fmla="*/ 24 w 42"/>
                <a:gd name="T5" fmla="*/ 0 h 47"/>
                <a:gd name="T6" fmla="*/ 40 w 42"/>
                <a:gd name="T7" fmla="*/ 7 h 47"/>
                <a:gd name="T8" fmla="*/ 40 w 42"/>
                <a:gd name="T9" fmla="*/ 10 h 47"/>
                <a:gd name="T10" fmla="*/ 37 w 42"/>
                <a:gd name="T11" fmla="*/ 10 h 47"/>
                <a:gd name="T12" fmla="*/ 24 w 42"/>
                <a:gd name="T13" fmla="*/ 5 h 47"/>
                <a:gd name="T14" fmla="*/ 5 w 42"/>
                <a:gd name="T15" fmla="*/ 24 h 47"/>
                <a:gd name="T16" fmla="*/ 24 w 42"/>
                <a:gd name="T17" fmla="*/ 42 h 47"/>
                <a:gd name="T18" fmla="*/ 37 w 42"/>
                <a:gd name="T19" fmla="*/ 36 h 47"/>
                <a:gd name="T20" fmla="*/ 41 w 42"/>
                <a:gd name="T21" fmla="*/ 36 h 47"/>
                <a:gd name="T22" fmla="*/ 41 w 42"/>
                <a:gd name="T23" fmla="*/ 40 h 47"/>
                <a:gd name="T24" fmla="*/ 24 w 42"/>
                <a:gd name="T2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47">
                  <a:moveTo>
                    <a:pt x="24" y="47"/>
                  </a:moveTo>
                  <a:cubicBezTo>
                    <a:pt x="11" y="47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0" y="0"/>
                    <a:pt x="36" y="2"/>
                    <a:pt x="40" y="7"/>
                  </a:cubicBezTo>
                  <a:cubicBezTo>
                    <a:pt x="41" y="8"/>
                    <a:pt x="41" y="9"/>
                    <a:pt x="40" y="10"/>
                  </a:cubicBezTo>
                  <a:cubicBezTo>
                    <a:pt x="39" y="11"/>
                    <a:pt x="38" y="11"/>
                    <a:pt x="37" y="10"/>
                  </a:cubicBezTo>
                  <a:cubicBezTo>
                    <a:pt x="33" y="7"/>
                    <a:pt x="29" y="5"/>
                    <a:pt x="24" y="5"/>
                  </a:cubicBezTo>
                  <a:cubicBezTo>
                    <a:pt x="13" y="5"/>
                    <a:pt x="5" y="13"/>
                    <a:pt x="5" y="24"/>
                  </a:cubicBezTo>
                  <a:cubicBezTo>
                    <a:pt x="5" y="34"/>
                    <a:pt x="13" y="42"/>
                    <a:pt x="24" y="42"/>
                  </a:cubicBezTo>
                  <a:cubicBezTo>
                    <a:pt x="29" y="42"/>
                    <a:pt x="34" y="40"/>
                    <a:pt x="37" y="36"/>
                  </a:cubicBezTo>
                  <a:cubicBezTo>
                    <a:pt x="38" y="35"/>
                    <a:pt x="40" y="35"/>
                    <a:pt x="41" y="36"/>
                  </a:cubicBezTo>
                  <a:cubicBezTo>
                    <a:pt x="42" y="37"/>
                    <a:pt x="42" y="39"/>
                    <a:pt x="41" y="40"/>
                  </a:cubicBezTo>
                  <a:cubicBezTo>
                    <a:pt x="36" y="45"/>
                    <a:pt x="30" y="47"/>
                    <a:pt x="24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6" name="Freeform 456">
              <a:extLst>
                <a:ext uri="{FF2B5EF4-FFF2-40B4-BE49-F238E27FC236}">
                  <a16:creationId xmlns:a16="http://schemas.microsoft.com/office/drawing/2014/main" id="{567BAFE2-258F-0BFA-22FE-8472750DF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22370" y="3116247"/>
              <a:ext cx="71439" cy="12700"/>
            </a:xfrm>
            <a:custGeom>
              <a:avLst/>
              <a:gdLst>
                <a:gd name="T0" fmla="*/ 30 w 32"/>
                <a:gd name="T1" fmla="*/ 5 h 5"/>
                <a:gd name="T2" fmla="*/ 3 w 32"/>
                <a:gd name="T3" fmla="*/ 5 h 5"/>
                <a:gd name="T4" fmla="*/ 0 w 32"/>
                <a:gd name="T5" fmla="*/ 3 h 5"/>
                <a:gd name="T6" fmla="*/ 3 w 32"/>
                <a:gd name="T7" fmla="*/ 0 h 5"/>
                <a:gd name="T8" fmla="*/ 30 w 32"/>
                <a:gd name="T9" fmla="*/ 0 h 5"/>
                <a:gd name="T10" fmla="*/ 32 w 32"/>
                <a:gd name="T11" fmla="*/ 3 h 5"/>
                <a:gd name="T12" fmla="*/ 30 w 32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5">
                  <a:moveTo>
                    <a:pt x="30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1" y="0"/>
                    <a:pt x="32" y="1"/>
                    <a:pt x="32" y="3"/>
                  </a:cubicBezTo>
                  <a:cubicBezTo>
                    <a:pt x="32" y="4"/>
                    <a:pt x="31" y="5"/>
                    <a:pt x="30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7" name="Freeform 457">
              <a:extLst>
                <a:ext uri="{FF2B5EF4-FFF2-40B4-BE49-F238E27FC236}">
                  <a16:creationId xmlns:a16="http://schemas.microsoft.com/office/drawing/2014/main" id="{1C4105A1-1B0B-0D86-FE9D-18847679F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22370" y="3144822"/>
              <a:ext cx="71439" cy="7938"/>
            </a:xfrm>
            <a:custGeom>
              <a:avLst/>
              <a:gdLst>
                <a:gd name="T0" fmla="*/ 30 w 32"/>
                <a:gd name="T1" fmla="*/ 4 h 4"/>
                <a:gd name="T2" fmla="*/ 3 w 32"/>
                <a:gd name="T3" fmla="*/ 4 h 4"/>
                <a:gd name="T4" fmla="*/ 0 w 32"/>
                <a:gd name="T5" fmla="*/ 2 h 4"/>
                <a:gd name="T6" fmla="*/ 3 w 32"/>
                <a:gd name="T7" fmla="*/ 0 h 4"/>
                <a:gd name="T8" fmla="*/ 30 w 32"/>
                <a:gd name="T9" fmla="*/ 0 h 4"/>
                <a:gd name="T10" fmla="*/ 32 w 32"/>
                <a:gd name="T11" fmla="*/ 2 h 4"/>
                <a:gd name="T12" fmla="*/ 30 w 3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4">
                  <a:moveTo>
                    <a:pt x="30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1" y="0"/>
                    <a:pt x="32" y="1"/>
                    <a:pt x="32" y="2"/>
                  </a:cubicBezTo>
                  <a:cubicBezTo>
                    <a:pt x="32" y="3"/>
                    <a:pt x="31" y="4"/>
                    <a:pt x="30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8" name="Freeform 458">
              <a:extLst>
                <a:ext uri="{FF2B5EF4-FFF2-40B4-BE49-F238E27FC236}">
                  <a16:creationId xmlns:a16="http://schemas.microsoft.com/office/drawing/2014/main" id="{F7316C4D-486B-8BD5-DC35-C52461FF622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77946" y="3141644"/>
              <a:ext cx="103189" cy="101600"/>
            </a:xfrm>
            <a:custGeom>
              <a:avLst/>
              <a:gdLst>
                <a:gd name="T0" fmla="*/ 42 w 46"/>
                <a:gd name="T1" fmla="*/ 45 h 45"/>
                <a:gd name="T2" fmla="*/ 11 w 46"/>
                <a:gd name="T3" fmla="*/ 34 h 45"/>
                <a:gd name="T4" fmla="*/ 0 w 46"/>
                <a:gd name="T5" fmla="*/ 3 h 45"/>
                <a:gd name="T6" fmla="*/ 2 w 46"/>
                <a:gd name="T7" fmla="*/ 0 h 45"/>
                <a:gd name="T8" fmla="*/ 2 w 46"/>
                <a:gd name="T9" fmla="*/ 0 h 45"/>
                <a:gd name="T10" fmla="*/ 5 w 46"/>
                <a:gd name="T11" fmla="*/ 3 h 45"/>
                <a:gd name="T12" fmla="*/ 15 w 46"/>
                <a:gd name="T13" fmla="*/ 30 h 45"/>
                <a:gd name="T14" fmla="*/ 43 w 46"/>
                <a:gd name="T15" fmla="*/ 40 h 45"/>
                <a:gd name="T16" fmla="*/ 46 w 46"/>
                <a:gd name="T17" fmla="*/ 43 h 45"/>
                <a:gd name="T18" fmla="*/ 43 w 46"/>
                <a:gd name="T19" fmla="*/ 45 h 45"/>
                <a:gd name="T20" fmla="*/ 42 w 46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5">
                  <a:moveTo>
                    <a:pt x="42" y="45"/>
                  </a:moveTo>
                  <a:cubicBezTo>
                    <a:pt x="30" y="45"/>
                    <a:pt x="19" y="41"/>
                    <a:pt x="11" y="34"/>
                  </a:cubicBezTo>
                  <a:cubicBezTo>
                    <a:pt x="4" y="26"/>
                    <a:pt x="0" y="16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5" y="2"/>
                    <a:pt x="5" y="3"/>
                  </a:cubicBezTo>
                  <a:cubicBezTo>
                    <a:pt x="5" y="14"/>
                    <a:pt x="8" y="24"/>
                    <a:pt x="15" y="30"/>
                  </a:cubicBezTo>
                  <a:cubicBezTo>
                    <a:pt x="22" y="37"/>
                    <a:pt x="31" y="40"/>
                    <a:pt x="43" y="40"/>
                  </a:cubicBezTo>
                  <a:cubicBezTo>
                    <a:pt x="45" y="40"/>
                    <a:pt x="46" y="41"/>
                    <a:pt x="46" y="43"/>
                  </a:cubicBezTo>
                  <a:cubicBezTo>
                    <a:pt x="46" y="44"/>
                    <a:pt x="45" y="45"/>
                    <a:pt x="43" y="45"/>
                  </a:cubicBezTo>
                  <a:cubicBezTo>
                    <a:pt x="43" y="45"/>
                    <a:pt x="43" y="45"/>
                    <a:pt x="42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9" name="Freeform 459">
              <a:extLst>
                <a:ext uri="{FF2B5EF4-FFF2-40B4-BE49-F238E27FC236}">
                  <a16:creationId xmlns:a16="http://schemas.microsoft.com/office/drawing/2014/main" id="{1D12C93B-A253-8E9E-D78E-B2B1CAE639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03345" y="3141646"/>
              <a:ext cx="65088" cy="42862"/>
            </a:xfrm>
            <a:custGeom>
              <a:avLst/>
              <a:gdLst>
                <a:gd name="T0" fmla="*/ 3 w 29"/>
                <a:gd name="T1" fmla="*/ 19 h 19"/>
                <a:gd name="T2" fmla="*/ 2 w 29"/>
                <a:gd name="T3" fmla="*/ 18 h 19"/>
                <a:gd name="T4" fmla="*/ 1 w 29"/>
                <a:gd name="T5" fmla="*/ 15 h 19"/>
                <a:gd name="T6" fmla="*/ 11 w 29"/>
                <a:gd name="T7" fmla="*/ 1 h 19"/>
                <a:gd name="T8" fmla="*/ 15 w 29"/>
                <a:gd name="T9" fmla="*/ 1 h 19"/>
                <a:gd name="T10" fmla="*/ 28 w 29"/>
                <a:gd name="T11" fmla="*/ 11 h 19"/>
                <a:gd name="T12" fmla="*/ 29 w 29"/>
                <a:gd name="T13" fmla="*/ 15 h 19"/>
                <a:gd name="T14" fmla="*/ 25 w 29"/>
                <a:gd name="T15" fmla="*/ 15 h 19"/>
                <a:gd name="T16" fmla="*/ 14 w 29"/>
                <a:gd name="T17" fmla="*/ 6 h 19"/>
                <a:gd name="T18" fmla="*/ 5 w 29"/>
                <a:gd name="T19" fmla="*/ 18 h 19"/>
                <a:gd name="T20" fmla="*/ 3 w 29"/>
                <a:gd name="T2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19">
                  <a:moveTo>
                    <a:pt x="3" y="19"/>
                  </a:moveTo>
                  <a:cubicBezTo>
                    <a:pt x="3" y="19"/>
                    <a:pt x="2" y="19"/>
                    <a:pt x="2" y="18"/>
                  </a:cubicBezTo>
                  <a:cubicBezTo>
                    <a:pt x="1" y="17"/>
                    <a:pt x="0" y="16"/>
                    <a:pt x="1" y="15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0"/>
                    <a:pt x="14" y="0"/>
                    <a:pt x="15" y="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9" y="12"/>
                    <a:pt x="29" y="13"/>
                    <a:pt x="29" y="15"/>
                  </a:cubicBezTo>
                  <a:cubicBezTo>
                    <a:pt x="28" y="16"/>
                    <a:pt x="26" y="16"/>
                    <a:pt x="25" y="15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9"/>
                    <a:pt x="3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0" name="Freeform 460">
              <a:extLst>
                <a:ext uri="{FF2B5EF4-FFF2-40B4-BE49-F238E27FC236}">
                  <a16:creationId xmlns:a16="http://schemas.microsoft.com/office/drawing/2014/main" id="{314A95F3-B93A-6425-D3B4-A2445ED33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66805" y="2906705"/>
              <a:ext cx="103189" cy="100013"/>
            </a:xfrm>
            <a:custGeom>
              <a:avLst/>
              <a:gdLst>
                <a:gd name="T0" fmla="*/ 44 w 46"/>
                <a:gd name="T1" fmla="*/ 44 h 44"/>
                <a:gd name="T2" fmla="*/ 41 w 46"/>
                <a:gd name="T3" fmla="*/ 42 h 44"/>
                <a:gd name="T4" fmla="*/ 31 w 46"/>
                <a:gd name="T5" fmla="*/ 15 h 44"/>
                <a:gd name="T6" fmla="*/ 3 w 46"/>
                <a:gd name="T7" fmla="*/ 5 h 44"/>
                <a:gd name="T8" fmla="*/ 0 w 46"/>
                <a:gd name="T9" fmla="*/ 2 h 44"/>
                <a:gd name="T10" fmla="*/ 3 w 46"/>
                <a:gd name="T11" fmla="*/ 0 h 44"/>
                <a:gd name="T12" fmla="*/ 35 w 46"/>
                <a:gd name="T13" fmla="*/ 11 h 44"/>
                <a:gd name="T14" fmla="*/ 46 w 46"/>
                <a:gd name="T15" fmla="*/ 42 h 44"/>
                <a:gd name="T16" fmla="*/ 44 w 46"/>
                <a:gd name="T17" fmla="*/ 44 h 44"/>
                <a:gd name="T18" fmla="*/ 44 w 46"/>
                <a:gd name="T1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44">
                  <a:moveTo>
                    <a:pt x="44" y="44"/>
                  </a:moveTo>
                  <a:cubicBezTo>
                    <a:pt x="43" y="44"/>
                    <a:pt x="41" y="43"/>
                    <a:pt x="41" y="42"/>
                  </a:cubicBezTo>
                  <a:cubicBezTo>
                    <a:pt x="41" y="31"/>
                    <a:pt x="38" y="21"/>
                    <a:pt x="31" y="15"/>
                  </a:cubicBezTo>
                  <a:cubicBezTo>
                    <a:pt x="25" y="8"/>
                    <a:pt x="15" y="5"/>
                    <a:pt x="3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6" y="0"/>
                    <a:pt x="27" y="4"/>
                    <a:pt x="35" y="11"/>
                  </a:cubicBezTo>
                  <a:cubicBezTo>
                    <a:pt x="42" y="19"/>
                    <a:pt x="46" y="29"/>
                    <a:pt x="46" y="42"/>
                  </a:cubicBezTo>
                  <a:cubicBezTo>
                    <a:pt x="46" y="43"/>
                    <a:pt x="45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1" name="Freeform 461">
              <a:extLst>
                <a:ext uri="{FF2B5EF4-FFF2-40B4-BE49-F238E27FC236}">
                  <a16:creationId xmlns:a16="http://schemas.microsoft.com/office/drawing/2014/main" id="{9AD948DE-752A-E7FC-E10B-FE88277BD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03301" y="2965450"/>
              <a:ext cx="65088" cy="41275"/>
            </a:xfrm>
            <a:custGeom>
              <a:avLst/>
              <a:gdLst>
                <a:gd name="T0" fmla="*/ 16 w 29"/>
                <a:gd name="T1" fmla="*/ 18 h 18"/>
                <a:gd name="T2" fmla="*/ 14 w 29"/>
                <a:gd name="T3" fmla="*/ 18 h 18"/>
                <a:gd name="T4" fmla="*/ 1 w 29"/>
                <a:gd name="T5" fmla="*/ 8 h 18"/>
                <a:gd name="T6" fmla="*/ 1 w 29"/>
                <a:gd name="T7" fmla="*/ 4 h 18"/>
                <a:gd name="T8" fmla="*/ 4 w 29"/>
                <a:gd name="T9" fmla="*/ 4 h 18"/>
                <a:gd name="T10" fmla="*/ 15 w 29"/>
                <a:gd name="T11" fmla="*/ 12 h 18"/>
                <a:gd name="T12" fmla="*/ 24 w 29"/>
                <a:gd name="T13" fmla="*/ 1 h 18"/>
                <a:gd name="T14" fmla="*/ 28 w 29"/>
                <a:gd name="T15" fmla="*/ 1 h 18"/>
                <a:gd name="T16" fmla="*/ 28 w 29"/>
                <a:gd name="T17" fmla="*/ 4 h 18"/>
                <a:gd name="T18" fmla="*/ 18 w 29"/>
                <a:gd name="T19" fmla="*/ 17 h 18"/>
                <a:gd name="T20" fmla="*/ 16 w 29"/>
                <a:gd name="T2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18">
                  <a:moveTo>
                    <a:pt x="16" y="18"/>
                  </a:moveTo>
                  <a:cubicBezTo>
                    <a:pt x="15" y="18"/>
                    <a:pt x="15" y="18"/>
                    <a:pt x="14" y="1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7"/>
                    <a:pt x="0" y="5"/>
                    <a:pt x="1" y="4"/>
                  </a:cubicBezTo>
                  <a:cubicBezTo>
                    <a:pt x="1" y="3"/>
                    <a:pt x="3" y="3"/>
                    <a:pt x="4" y="4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5" y="0"/>
                    <a:pt x="26" y="0"/>
                    <a:pt x="28" y="1"/>
                  </a:cubicBezTo>
                  <a:cubicBezTo>
                    <a:pt x="29" y="1"/>
                    <a:pt x="29" y="3"/>
                    <a:pt x="28" y="4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7" y="18"/>
                    <a:pt x="17" y="18"/>
                    <a:pt x="16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37" name="Shape37_20200717_142846">
            <a:extLst>
              <a:ext uri="{FF2B5EF4-FFF2-40B4-BE49-F238E27FC236}">
                <a16:creationId xmlns:a16="http://schemas.microsoft.com/office/drawing/2014/main" id="{9800190B-F1E3-E9E9-FBF4-CE10314874DD}"/>
              </a:ext>
            </a:extLst>
          </p:cNvPr>
          <p:cNvGrpSpPr>
            <a:grpSpLocks noChangeAspect="1"/>
          </p:cNvGrpSpPr>
          <p:nvPr/>
        </p:nvGrpSpPr>
        <p:grpSpPr>
          <a:xfrm>
            <a:off x="757418" y="1259673"/>
            <a:ext cx="232689" cy="527746"/>
            <a:chOff x="-4167179" y="989980"/>
            <a:chExt cx="153988" cy="349251"/>
          </a:xfrm>
          <a:solidFill>
            <a:schemeClr val="accent1"/>
          </a:solidFill>
        </p:grpSpPr>
        <p:sp>
          <p:nvSpPr>
            <p:cNvPr id="138" name="Freeform 1369">
              <a:extLst>
                <a:ext uri="{FF2B5EF4-FFF2-40B4-BE49-F238E27FC236}">
                  <a16:creationId xmlns:a16="http://schemas.microsoft.com/office/drawing/2014/main" id="{CD858DCE-4622-048A-E652-445B1FDDB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95734" y="1210643"/>
              <a:ext cx="11113" cy="107950"/>
            </a:xfrm>
            <a:custGeom>
              <a:avLst/>
              <a:gdLst>
                <a:gd name="T0" fmla="*/ 5 w 11"/>
                <a:gd name="T1" fmla="*/ 103 h 103"/>
                <a:gd name="T2" fmla="*/ 0 w 11"/>
                <a:gd name="T3" fmla="*/ 98 h 103"/>
                <a:gd name="T4" fmla="*/ 0 w 11"/>
                <a:gd name="T5" fmla="*/ 5 h 103"/>
                <a:gd name="T6" fmla="*/ 5 w 11"/>
                <a:gd name="T7" fmla="*/ 0 h 103"/>
                <a:gd name="T8" fmla="*/ 11 w 11"/>
                <a:gd name="T9" fmla="*/ 5 h 103"/>
                <a:gd name="T10" fmla="*/ 11 w 11"/>
                <a:gd name="T11" fmla="*/ 98 h 103"/>
                <a:gd name="T12" fmla="*/ 5 w 11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3">
                  <a:moveTo>
                    <a:pt x="5" y="103"/>
                  </a:moveTo>
                  <a:cubicBezTo>
                    <a:pt x="2" y="103"/>
                    <a:pt x="0" y="101"/>
                    <a:pt x="0" y="9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101"/>
                    <a:pt x="8" y="103"/>
                    <a:pt x="5" y="1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9" name="Freeform 1370">
              <a:extLst>
                <a:ext uri="{FF2B5EF4-FFF2-40B4-BE49-F238E27FC236}">
                  <a16:creationId xmlns:a16="http://schemas.microsoft.com/office/drawing/2014/main" id="{6F66D3BE-9E4D-49F1-30AC-D2AD4EFD67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67179" y="1066181"/>
              <a:ext cx="153988" cy="273050"/>
            </a:xfrm>
            <a:custGeom>
              <a:avLst/>
              <a:gdLst>
                <a:gd name="T0" fmla="*/ 93 w 148"/>
                <a:gd name="T1" fmla="*/ 263 h 263"/>
                <a:gd name="T2" fmla="*/ 74 w 148"/>
                <a:gd name="T3" fmla="*/ 253 h 263"/>
                <a:gd name="T4" fmla="*/ 55 w 148"/>
                <a:gd name="T5" fmla="*/ 263 h 263"/>
                <a:gd name="T6" fmla="*/ 30 w 148"/>
                <a:gd name="T7" fmla="*/ 238 h 263"/>
                <a:gd name="T8" fmla="*/ 30 w 148"/>
                <a:gd name="T9" fmla="*/ 134 h 263"/>
                <a:gd name="T10" fmla="*/ 23 w 148"/>
                <a:gd name="T11" fmla="*/ 137 h 263"/>
                <a:gd name="T12" fmla="*/ 7 w 148"/>
                <a:gd name="T13" fmla="*/ 131 h 263"/>
                <a:gd name="T14" fmla="*/ 0 w 148"/>
                <a:gd name="T15" fmla="*/ 116 h 263"/>
                <a:gd name="T16" fmla="*/ 0 w 148"/>
                <a:gd name="T17" fmla="*/ 36 h 263"/>
                <a:gd name="T18" fmla="*/ 36 w 148"/>
                <a:gd name="T19" fmla="*/ 0 h 263"/>
                <a:gd name="T20" fmla="*/ 112 w 148"/>
                <a:gd name="T21" fmla="*/ 0 h 263"/>
                <a:gd name="T22" fmla="*/ 148 w 148"/>
                <a:gd name="T23" fmla="*/ 36 h 263"/>
                <a:gd name="T24" fmla="*/ 148 w 148"/>
                <a:gd name="T25" fmla="*/ 116 h 263"/>
                <a:gd name="T26" fmla="*/ 141 w 148"/>
                <a:gd name="T27" fmla="*/ 131 h 263"/>
                <a:gd name="T28" fmla="*/ 126 w 148"/>
                <a:gd name="T29" fmla="*/ 137 h 263"/>
                <a:gd name="T30" fmla="*/ 118 w 148"/>
                <a:gd name="T31" fmla="*/ 134 h 263"/>
                <a:gd name="T32" fmla="*/ 118 w 148"/>
                <a:gd name="T33" fmla="*/ 238 h 263"/>
                <a:gd name="T34" fmla="*/ 93 w 148"/>
                <a:gd name="T35" fmla="*/ 263 h 263"/>
                <a:gd name="T36" fmla="*/ 74 w 148"/>
                <a:gd name="T37" fmla="*/ 232 h 263"/>
                <a:gd name="T38" fmla="*/ 80 w 148"/>
                <a:gd name="T39" fmla="*/ 238 h 263"/>
                <a:gd name="T40" fmla="*/ 93 w 148"/>
                <a:gd name="T41" fmla="*/ 252 h 263"/>
                <a:gd name="T42" fmla="*/ 107 w 148"/>
                <a:gd name="T43" fmla="*/ 238 h 263"/>
                <a:gd name="T44" fmla="*/ 107 w 148"/>
                <a:gd name="T45" fmla="*/ 115 h 263"/>
                <a:gd name="T46" fmla="*/ 112 w 148"/>
                <a:gd name="T47" fmla="*/ 110 h 263"/>
                <a:gd name="T48" fmla="*/ 118 w 148"/>
                <a:gd name="T49" fmla="*/ 115 h 263"/>
                <a:gd name="T50" fmla="*/ 127 w 148"/>
                <a:gd name="T51" fmla="*/ 126 h 263"/>
                <a:gd name="T52" fmla="*/ 134 w 148"/>
                <a:gd name="T53" fmla="*/ 123 h 263"/>
                <a:gd name="T54" fmla="*/ 137 w 148"/>
                <a:gd name="T55" fmla="*/ 116 h 263"/>
                <a:gd name="T56" fmla="*/ 137 w 148"/>
                <a:gd name="T57" fmla="*/ 36 h 263"/>
                <a:gd name="T58" fmla="*/ 112 w 148"/>
                <a:gd name="T59" fmla="*/ 11 h 263"/>
                <a:gd name="T60" fmla="*/ 36 w 148"/>
                <a:gd name="T61" fmla="*/ 11 h 263"/>
                <a:gd name="T62" fmla="*/ 11 w 148"/>
                <a:gd name="T63" fmla="*/ 36 h 263"/>
                <a:gd name="T64" fmla="*/ 11 w 148"/>
                <a:gd name="T65" fmla="*/ 116 h 263"/>
                <a:gd name="T66" fmla="*/ 14 w 148"/>
                <a:gd name="T67" fmla="*/ 123 h 263"/>
                <a:gd name="T68" fmla="*/ 22 w 148"/>
                <a:gd name="T69" fmla="*/ 126 h 263"/>
                <a:gd name="T70" fmla="*/ 30 w 148"/>
                <a:gd name="T71" fmla="*/ 115 h 263"/>
                <a:gd name="T72" fmla="*/ 36 w 148"/>
                <a:gd name="T73" fmla="*/ 110 h 263"/>
                <a:gd name="T74" fmla="*/ 41 w 148"/>
                <a:gd name="T75" fmla="*/ 115 h 263"/>
                <a:gd name="T76" fmla="*/ 41 w 148"/>
                <a:gd name="T77" fmla="*/ 238 h 263"/>
                <a:gd name="T78" fmla="*/ 55 w 148"/>
                <a:gd name="T79" fmla="*/ 252 h 263"/>
                <a:gd name="T80" fmla="*/ 69 w 148"/>
                <a:gd name="T81" fmla="*/ 238 h 263"/>
                <a:gd name="T82" fmla="*/ 74 w 148"/>
                <a:gd name="T83" fmla="*/ 232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48" h="263">
                  <a:moveTo>
                    <a:pt x="93" y="263"/>
                  </a:moveTo>
                  <a:cubicBezTo>
                    <a:pt x="85" y="263"/>
                    <a:pt x="79" y="259"/>
                    <a:pt x="74" y="253"/>
                  </a:cubicBezTo>
                  <a:cubicBezTo>
                    <a:pt x="70" y="259"/>
                    <a:pt x="63" y="263"/>
                    <a:pt x="55" y="263"/>
                  </a:cubicBezTo>
                  <a:cubicBezTo>
                    <a:pt x="41" y="263"/>
                    <a:pt x="30" y="251"/>
                    <a:pt x="30" y="238"/>
                  </a:cubicBezTo>
                  <a:cubicBezTo>
                    <a:pt x="30" y="134"/>
                    <a:pt x="30" y="134"/>
                    <a:pt x="30" y="134"/>
                  </a:cubicBezTo>
                  <a:cubicBezTo>
                    <a:pt x="28" y="135"/>
                    <a:pt x="25" y="136"/>
                    <a:pt x="23" y="137"/>
                  </a:cubicBezTo>
                  <a:cubicBezTo>
                    <a:pt x="17" y="137"/>
                    <a:pt x="11" y="135"/>
                    <a:pt x="7" y="131"/>
                  </a:cubicBezTo>
                  <a:cubicBezTo>
                    <a:pt x="2" y="127"/>
                    <a:pt x="0" y="122"/>
                    <a:pt x="0" y="11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32" y="0"/>
                    <a:pt x="148" y="16"/>
                    <a:pt x="148" y="36"/>
                  </a:cubicBezTo>
                  <a:cubicBezTo>
                    <a:pt x="148" y="116"/>
                    <a:pt x="148" y="116"/>
                    <a:pt x="148" y="116"/>
                  </a:cubicBezTo>
                  <a:cubicBezTo>
                    <a:pt x="148" y="122"/>
                    <a:pt x="146" y="127"/>
                    <a:pt x="141" y="131"/>
                  </a:cubicBezTo>
                  <a:cubicBezTo>
                    <a:pt x="137" y="135"/>
                    <a:pt x="131" y="137"/>
                    <a:pt x="126" y="137"/>
                  </a:cubicBezTo>
                  <a:cubicBezTo>
                    <a:pt x="123" y="136"/>
                    <a:pt x="120" y="135"/>
                    <a:pt x="118" y="134"/>
                  </a:cubicBezTo>
                  <a:cubicBezTo>
                    <a:pt x="118" y="238"/>
                    <a:pt x="118" y="238"/>
                    <a:pt x="118" y="238"/>
                  </a:cubicBezTo>
                  <a:cubicBezTo>
                    <a:pt x="118" y="251"/>
                    <a:pt x="107" y="263"/>
                    <a:pt x="93" y="263"/>
                  </a:cubicBezTo>
                  <a:close/>
                  <a:moveTo>
                    <a:pt x="74" y="232"/>
                  </a:moveTo>
                  <a:cubicBezTo>
                    <a:pt x="77" y="232"/>
                    <a:pt x="80" y="235"/>
                    <a:pt x="80" y="238"/>
                  </a:cubicBezTo>
                  <a:cubicBezTo>
                    <a:pt x="80" y="245"/>
                    <a:pt x="86" y="252"/>
                    <a:pt x="93" y="252"/>
                  </a:cubicBezTo>
                  <a:cubicBezTo>
                    <a:pt x="101" y="252"/>
                    <a:pt x="107" y="245"/>
                    <a:pt x="107" y="238"/>
                  </a:cubicBezTo>
                  <a:cubicBezTo>
                    <a:pt x="107" y="115"/>
                    <a:pt x="107" y="115"/>
                    <a:pt x="107" y="115"/>
                  </a:cubicBezTo>
                  <a:cubicBezTo>
                    <a:pt x="107" y="112"/>
                    <a:pt x="109" y="110"/>
                    <a:pt x="112" y="110"/>
                  </a:cubicBezTo>
                  <a:cubicBezTo>
                    <a:pt x="115" y="110"/>
                    <a:pt x="118" y="112"/>
                    <a:pt x="118" y="115"/>
                  </a:cubicBezTo>
                  <a:cubicBezTo>
                    <a:pt x="118" y="121"/>
                    <a:pt x="122" y="125"/>
                    <a:pt x="127" y="126"/>
                  </a:cubicBezTo>
                  <a:cubicBezTo>
                    <a:pt x="129" y="126"/>
                    <a:pt x="132" y="125"/>
                    <a:pt x="134" y="123"/>
                  </a:cubicBezTo>
                  <a:cubicBezTo>
                    <a:pt x="136" y="121"/>
                    <a:pt x="137" y="119"/>
                    <a:pt x="137" y="11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22"/>
                    <a:pt x="126" y="11"/>
                    <a:pt x="112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2" y="11"/>
                    <a:pt x="11" y="22"/>
                    <a:pt x="11" y="3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9"/>
                    <a:pt x="12" y="121"/>
                    <a:pt x="14" y="123"/>
                  </a:cubicBezTo>
                  <a:cubicBezTo>
                    <a:pt x="16" y="125"/>
                    <a:pt x="19" y="126"/>
                    <a:pt x="22" y="126"/>
                  </a:cubicBezTo>
                  <a:cubicBezTo>
                    <a:pt x="26" y="125"/>
                    <a:pt x="30" y="121"/>
                    <a:pt x="30" y="115"/>
                  </a:cubicBezTo>
                  <a:cubicBezTo>
                    <a:pt x="30" y="112"/>
                    <a:pt x="33" y="110"/>
                    <a:pt x="36" y="110"/>
                  </a:cubicBezTo>
                  <a:cubicBezTo>
                    <a:pt x="39" y="110"/>
                    <a:pt x="41" y="112"/>
                    <a:pt x="41" y="115"/>
                  </a:cubicBezTo>
                  <a:cubicBezTo>
                    <a:pt x="41" y="238"/>
                    <a:pt x="41" y="238"/>
                    <a:pt x="41" y="238"/>
                  </a:cubicBezTo>
                  <a:cubicBezTo>
                    <a:pt x="41" y="245"/>
                    <a:pt x="47" y="252"/>
                    <a:pt x="55" y="252"/>
                  </a:cubicBezTo>
                  <a:cubicBezTo>
                    <a:pt x="62" y="252"/>
                    <a:pt x="69" y="245"/>
                    <a:pt x="69" y="238"/>
                  </a:cubicBezTo>
                  <a:cubicBezTo>
                    <a:pt x="69" y="235"/>
                    <a:pt x="71" y="232"/>
                    <a:pt x="74" y="2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0" name="Freeform 1371">
              <a:extLst>
                <a:ext uri="{FF2B5EF4-FFF2-40B4-BE49-F238E27FC236}">
                  <a16:creationId xmlns:a16="http://schemas.microsoft.com/office/drawing/2014/main" id="{43B68D9A-5347-E056-3DAB-5D37999B10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37009" y="1066181"/>
              <a:ext cx="92075" cy="11113"/>
            </a:xfrm>
            <a:custGeom>
              <a:avLst/>
              <a:gdLst>
                <a:gd name="T0" fmla="*/ 82 w 88"/>
                <a:gd name="T1" fmla="*/ 11 h 11"/>
                <a:gd name="T2" fmla="*/ 6 w 88"/>
                <a:gd name="T3" fmla="*/ 11 h 11"/>
                <a:gd name="T4" fmla="*/ 0 w 88"/>
                <a:gd name="T5" fmla="*/ 5 h 11"/>
                <a:gd name="T6" fmla="*/ 6 w 88"/>
                <a:gd name="T7" fmla="*/ 0 h 11"/>
                <a:gd name="T8" fmla="*/ 82 w 88"/>
                <a:gd name="T9" fmla="*/ 0 h 11"/>
                <a:gd name="T10" fmla="*/ 88 w 88"/>
                <a:gd name="T11" fmla="*/ 5 h 11"/>
                <a:gd name="T12" fmla="*/ 82 w 88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11">
                  <a:moveTo>
                    <a:pt x="82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5" y="0"/>
                    <a:pt x="88" y="2"/>
                    <a:pt x="88" y="5"/>
                  </a:cubicBezTo>
                  <a:cubicBezTo>
                    <a:pt x="88" y="8"/>
                    <a:pt x="85" y="11"/>
                    <a:pt x="8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1" name="Freeform 1372">
              <a:extLst>
                <a:ext uri="{FF2B5EF4-FFF2-40B4-BE49-F238E27FC236}">
                  <a16:creationId xmlns:a16="http://schemas.microsoft.com/office/drawing/2014/main" id="{D480554C-2A20-F73E-4DAB-DDDDD980122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37017" y="1123332"/>
              <a:ext cx="12700" cy="68263"/>
            </a:xfrm>
            <a:custGeom>
              <a:avLst/>
              <a:gdLst>
                <a:gd name="T0" fmla="*/ 6 w 11"/>
                <a:gd name="T1" fmla="*/ 66 h 66"/>
                <a:gd name="T2" fmla="*/ 0 w 11"/>
                <a:gd name="T3" fmla="*/ 60 h 66"/>
                <a:gd name="T4" fmla="*/ 0 w 11"/>
                <a:gd name="T5" fmla="*/ 5 h 66"/>
                <a:gd name="T6" fmla="*/ 6 w 11"/>
                <a:gd name="T7" fmla="*/ 0 h 66"/>
                <a:gd name="T8" fmla="*/ 11 w 11"/>
                <a:gd name="T9" fmla="*/ 5 h 66"/>
                <a:gd name="T10" fmla="*/ 11 w 11"/>
                <a:gd name="T11" fmla="*/ 60 h 66"/>
                <a:gd name="T12" fmla="*/ 6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6" y="66"/>
                  </a:moveTo>
                  <a:cubicBezTo>
                    <a:pt x="3" y="66"/>
                    <a:pt x="0" y="63"/>
                    <a:pt x="0" y="6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9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2" name="Freeform 1373">
              <a:extLst>
                <a:ext uri="{FF2B5EF4-FFF2-40B4-BE49-F238E27FC236}">
                  <a16:creationId xmlns:a16="http://schemas.microsoft.com/office/drawing/2014/main" id="{12706165-7074-9DF5-D8D0-14541DAF12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56067" y="1123331"/>
              <a:ext cx="11113" cy="68263"/>
            </a:xfrm>
            <a:custGeom>
              <a:avLst/>
              <a:gdLst>
                <a:gd name="T0" fmla="*/ 5 w 11"/>
                <a:gd name="T1" fmla="*/ 66 h 66"/>
                <a:gd name="T2" fmla="*/ 0 w 11"/>
                <a:gd name="T3" fmla="*/ 60 h 66"/>
                <a:gd name="T4" fmla="*/ 0 w 11"/>
                <a:gd name="T5" fmla="*/ 5 h 66"/>
                <a:gd name="T6" fmla="*/ 5 w 11"/>
                <a:gd name="T7" fmla="*/ 0 h 66"/>
                <a:gd name="T8" fmla="*/ 11 w 11"/>
                <a:gd name="T9" fmla="*/ 5 h 66"/>
                <a:gd name="T10" fmla="*/ 11 w 11"/>
                <a:gd name="T11" fmla="*/ 60 h 66"/>
                <a:gd name="T12" fmla="*/ 5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5" y="66"/>
                  </a:moveTo>
                  <a:cubicBezTo>
                    <a:pt x="2" y="66"/>
                    <a:pt x="0" y="63"/>
                    <a:pt x="0" y="6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8" y="66"/>
                    <a:pt x="5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3" name="Freeform 1374">
              <a:extLst>
                <a:ext uri="{FF2B5EF4-FFF2-40B4-BE49-F238E27FC236}">
                  <a16:creationId xmlns:a16="http://schemas.microsoft.com/office/drawing/2014/main" id="{7D7F79E1-80D8-C9DE-EC8E-2B9010AA51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22738" y="989980"/>
              <a:ext cx="65088" cy="65088"/>
            </a:xfrm>
            <a:custGeom>
              <a:avLst/>
              <a:gdLst>
                <a:gd name="T0" fmla="*/ 31 w 62"/>
                <a:gd name="T1" fmla="*/ 62 h 62"/>
                <a:gd name="T2" fmla="*/ 0 w 62"/>
                <a:gd name="T3" fmla="*/ 31 h 62"/>
                <a:gd name="T4" fmla="*/ 31 w 62"/>
                <a:gd name="T5" fmla="*/ 0 h 62"/>
                <a:gd name="T6" fmla="*/ 62 w 62"/>
                <a:gd name="T7" fmla="*/ 31 h 62"/>
                <a:gd name="T8" fmla="*/ 31 w 62"/>
                <a:gd name="T9" fmla="*/ 62 h 62"/>
                <a:gd name="T10" fmla="*/ 31 w 62"/>
                <a:gd name="T11" fmla="*/ 11 h 62"/>
                <a:gd name="T12" fmla="*/ 11 w 62"/>
                <a:gd name="T13" fmla="*/ 31 h 62"/>
                <a:gd name="T14" fmla="*/ 31 w 62"/>
                <a:gd name="T15" fmla="*/ 51 h 62"/>
                <a:gd name="T16" fmla="*/ 51 w 62"/>
                <a:gd name="T17" fmla="*/ 31 h 62"/>
                <a:gd name="T18" fmla="*/ 31 w 62"/>
                <a:gd name="T19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2">
                  <a:moveTo>
                    <a:pt x="31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2" y="14"/>
                    <a:pt x="62" y="31"/>
                  </a:cubicBezTo>
                  <a:cubicBezTo>
                    <a:pt x="62" y="48"/>
                    <a:pt x="48" y="62"/>
                    <a:pt x="31" y="62"/>
                  </a:cubicBezTo>
                  <a:close/>
                  <a:moveTo>
                    <a:pt x="31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42"/>
                    <a:pt x="20" y="51"/>
                    <a:pt x="31" y="51"/>
                  </a:cubicBezTo>
                  <a:cubicBezTo>
                    <a:pt x="42" y="51"/>
                    <a:pt x="51" y="42"/>
                    <a:pt x="51" y="31"/>
                  </a:cubicBezTo>
                  <a:cubicBezTo>
                    <a:pt x="51" y="20"/>
                    <a:pt x="42" y="11"/>
                    <a:pt x="3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44" name="Shape47_20200717_142846">
            <a:extLst>
              <a:ext uri="{FF2B5EF4-FFF2-40B4-BE49-F238E27FC236}">
                <a16:creationId xmlns:a16="http://schemas.microsoft.com/office/drawing/2014/main" id="{56D016F6-9CE3-EF82-7FC1-C770AE9FAFC1}"/>
              </a:ext>
            </a:extLst>
          </p:cNvPr>
          <p:cNvGrpSpPr>
            <a:grpSpLocks noChangeAspect="1"/>
          </p:cNvGrpSpPr>
          <p:nvPr/>
        </p:nvGrpSpPr>
        <p:grpSpPr>
          <a:xfrm>
            <a:off x="535537" y="3880386"/>
            <a:ext cx="676475" cy="508546"/>
            <a:chOff x="-4314827" y="3377580"/>
            <a:chExt cx="447677" cy="336544"/>
          </a:xfrm>
          <a:solidFill>
            <a:schemeClr val="accent1"/>
          </a:solidFill>
        </p:grpSpPr>
        <p:sp>
          <p:nvSpPr>
            <p:cNvPr id="145" name="Freeform 1448">
              <a:extLst>
                <a:ext uri="{FF2B5EF4-FFF2-40B4-BE49-F238E27FC236}">
                  <a16:creationId xmlns:a16="http://schemas.microsoft.com/office/drawing/2014/main" id="{429D64A3-A74F-14A5-4CF7-4A0BD769152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08438" y="3428376"/>
              <a:ext cx="69850" cy="103188"/>
            </a:xfrm>
            <a:custGeom>
              <a:avLst/>
              <a:gdLst>
                <a:gd name="T0" fmla="*/ 33 w 68"/>
                <a:gd name="T1" fmla="*/ 100 h 100"/>
                <a:gd name="T2" fmla="*/ 1 w 68"/>
                <a:gd name="T3" fmla="*/ 84 h 100"/>
                <a:gd name="T4" fmla="*/ 3 w 68"/>
                <a:gd name="T5" fmla="*/ 77 h 100"/>
                <a:gd name="T6" fmla="*/ 10 w 68"/>
                <a:gd name="T7" fmla="*/ 78 h 100"/>
                <a:gd name="T8" fmla="*/ 47 w 68"/>
                <a:gd name="T9" fmla="*/ 86 h 100"/>
                <a:gd name="T10" fmla="*/ 48 w 68"/>
                <a:gd name="T11" fmla="*/ 86 h 100"/>
                <a:gd name="T12" fmla="*/ 56 w 68"/>
                <a:gd name="T13" fmla="*/ 71 h 100"/>
                <a:gd name="T14" fmla="*/ 44 w 68"/>
                <a:gd name="T15" fmla="*/ 57 h 100"/>
                <a:gd name="T16" fmla="*/ 20 w 68"/>
                <a:gd name="T17" fmla="*/ 50 h 100"/>
                <a:gd name="T18" fmla="*/ 1 w 68"/>
                <a:gd name="T19" fmla="*/ 25 h 100"/>
                <a:gd name="T20" fmla="*/ 9 w 68"/>
                <a:gd name="T21" fmla="*/ 8 h 100"/>
                <a:gd name="T22" fmla="*/ 34 w 68"/>
                <a:gd name="T23" fmla="*/ 0 h 100"/>
                <a:gd name="T24" fmla="*/ 67 w 68"/>
                <a:gd name="T25" fmla="*/ 23 h 100"/>
                <a:gd name="T26" fmla="*/ 63 w 68"/>
                <a:gd name="T27" fmla="*/ 29 h 100"/>
                <a:gd name="T28" fmla="*/ 56 w 68"/>
                <a:gd name="T29" fmla="*/ 26 h 100"/>
                <a:gd name="T30" fmla="*/ 34 w 68"/>
                <a:gd name="T31" fmla="*/ 11 h 100"/>
                <a:gd name="T32" fmla="*/ 16 w 68"/>
                <a:gd name="T33" fmla="*/ 16 h 100"/>
                <a:gd name="T34" fmla="*/ 12 w 68"/>
                <a:gd name="T35" fmla="*/ 25 h 100"/>
                <a:gd name="T36" fmla="*/ 23 w 68"/>
                <a:gd name="T37" fmla="*/ 39 h 100"/>
                <a:gd name="T38" fmla="*/ 47 w 68"/>
                <a:gd name="T39" fmla="*/ 46 h 100"/>
                <a:gd name="T40" fmla="*/ 66 w 68"/>
                <a:gd name="T41" fmla="*/ 70 h 100"/>
                <a:gd name="T42" fmla="*/ 52 w 68"/>
                <a:gd name="T43" fmla="*/ 96 h 100"/>
                <a:gd name="T44" fmla="*/ 33 w 68"/>
                <a:gd name="T45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8" h="100">
                  <a:moveTo>
                    <a:pt x="33" y="100"/>
                  </a:moveTo>
                  <a:cubicBezTo>
                    <a:pt x="23" y="100"/>
                    <a:pt x="11" y="96"/>
                    <a:pt x="1" y="84"/>
                  </a:cubicBezTo>
                  <a:cubicBezTo>
                    <a:pt x="0" y="82"/>
                    <a:pt x="0" y="78"/>
                    <a:pt x="3" y="77"/>
                  </a:cubicBezTo>
                  <a:cubicBezTo>
                    <a:pt x="5" y="75"/>
                    <a:pt x="8" y="75"/>
                    <a:pt x="10" y="78"/>
                  </a:cubicBezTo>
                  <a:cubicBezTo>
                    <a:pt x="25" y="97"/>
                    <a:pt x="47" y="86"/>
                    <a:pt x="47" y="86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9" y="85"/>
                    <a:pt x="56" y="82"/>
                    <a:pt x="56" y="71"/>
                  </a:cubicBezTo>
                  <a:cubicBezTo>
                    <a:pt x="55" y="60"/>
                    <a:pt x="44" y="57"/>
                    <a:pt x="44" y="57"/>
                  </a:cubicBezTo>
                  <a:cubicBezTo>
                    <a:pt x="44" y="57"/>
                    <a:pt x="32" y="53"/>
                    <a:pt x="20" y="50"/>
                  </a:cubicBezTo>
                  <a:cubicBezTo>
                    <a:pt x="7" y="46"/>
                    <a:pt x="1" y="38"/>
                    <a:pt x="1" y="25"/>
                  </a:cubicBezTo>
                  <a:cubicBezTo>
                    <a:pt x="1" y="18"/>
                    <a:pt x="4" y="12"/>
                    <a:pt x="9" y="8"/>
                  </a:cubicBezTo>
                  <a:cubicBezTo>
                    <a:pt x="14" y="3"/>
                    <a:pt x="23" y="0"/>
                    <a:pt x="34" y="0"/>
                  </a:cubicBezTo>
                  <a:cubicBezTo>
                    <a:pt x="55" y="1"/>
                    <a:pt x="64" y="15"/>
                    <a:pt x="67" y="23"/>
                  </a:cubicBezTo>
                  <a:cubicBezTo>
                    <a:pt x="67" y="26"/>
                    <a:pt x="66" y="29"/>
                    <a:pt x="63" y="29"/>
                  </a:cubicBezTo>
                  <a:cubicBezTo>
                    <a:pt x="60" y="30"/>
                    <a:pt x="57" y="29"/>
                    <a:pt x="56" y="26"/>
                  </a:cubicBezTo>
                  <a:cubicBezTo>
                    <a:pt x="56" y="25"/>
                    <a:pt x="51" y="12"/>
                    <a:pt x="34" y="11"/>
                  </a:cubicBezTo>
                  <a:cubicBezTo>
                    <a:pt x="26" y="11"/>
                    <a:pt x="20" y="13"/>
                    <a:pt x="16" y="16"/>
                  </a:cubicBezTo>
                  <a:cubicBezTo>
                    <a:pt x="13" y="18"/>
                    <a:pt x="12" y="22"/>
                    <a:pt x="12" y="25"/>
                  </a:cubicBezTo>
                  <a:cubicBezTo>
                    <a:pt x="12" y="31"/>
                    <a:pt x="13" y="36"/>
                    <a:pt x="23" y="39"/>
                  </a:cubicBezTo>
                  <a:cubicBezTo>
                    <a:pt x="35" y="43"/>
                    <a:pt x="47" y="46"/>
                    <a:pt x="47" y="46"/>
                  </a:cubicBezTo>
                  <a:cubicBezTo>
                    <a:pt x="47" y="46"/>
                    <a:pt x="65" y="52"/>
                    <a:pt x="66" y="70"/>
                  </a:cubicBezTo>
                  <a:cubicBezTo>
                    <a:pt x="68" y="85"/>
                    <a:pt x="58" y="93"/>
                    <a:pt x="52" y="96"/>
                  </a:cubicBezTo>
                  <a:cubicBezTo>
                    <a:pt x="48" y="98"/>
                    <a:pt x="41" y="100"/>
                    <a:pt x="33" y="10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 1449">
              <a:extLst>
                <a:ext uri="{FF2B5EF4-FFF2-40B4-BE49-F238E27FC236}">
                  <a16:creationId xmlns:a16="http://schemas.microsoft.com/office/drawing/2014/main" id="{D59751AC-986E-A420-66DE-08ABE5A7AE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78276" y="3409326"/>
              <a:ext cx="11113" cy="30163"/>
            </a:xfrm>
            <a:custGeom>
              <a:avLst/>
              <a:gdLst>
                <a:gd name="T0" fmla="*/ 5 w 11"/>
                <a:gd name="T1" fmla="*/ 29 h 29"/>
                <a:gd name="T2" fmla="*/ 0 w 11"/>
                <a:gd name="T3" fmla="*/ 24 h 29"/>
                <a:gd name="T4" fmla="*/ 0 w 11"/>
                <a:gd name="T5" fmla="*/ 5 h 29"/>
                <a:gd name="T6" fmla="*/ 5 w 11"/>
                <a:gd name="T7" fmla="*/ 0 h 29"/>
                <a:gd name="T8" fmla="*/ 11 w 11"/>
                <a:gd name="T9" fmla="*/ 5 h 29"/>
                <a:gd name="T10" fmla="*/ 11 w 11"/>
                <a:gd name="T11" fmla="*/ 24 h 29"/>
                <a:gd name="T12" fmla="*/ 5 w 11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9">
                  <a:moveTo>
                    <a:pt x="5" y="29"/>
                  </a:moveTo>
                  <a:cubicBezTo>
                    <a:pt x="2" y="29"/>
                    <a:pt x="0" y="27"/>
                    <a:pt x="0" y="2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7"/>
                    <a:pt x="8" y="29"/>
                    <a:pt x="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7" name="Freeform 1450">
              <a:extLst>
                <a:ext uri="{FF2B5EF4-FFF2-40B4-BE49-F238E27FC236}">
                  <a16:creationId xmlns:a16="http://schemas.microsoft.com/office/drawing/2014/main" id="{0A434BCF-DA2A-F119-77FB-99D1424DC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78276" y="3522039"/>
              <a:ext cx="11113" cy="30163"/>
            </a:xfrm>
            <a:custGeom>
              <a:avLst/>
              <a:gdLst>
                <a:gd name="T0" fmla="*/ 5 w 11"/>
                <a:gd name="T1" fmla="*/ 30 h 30"/>
                <a:gd name="T2" fmla="*/ 0 w 11"/>
                <a:gd name="T3" fmla="*/ 24 h 30"/>
                <a:gd name="T4" fmla="*/ 0 w 11"/>
                <a:gd name="T5" fmla="*/ 6 h 30"/>
                <a:gd name="T6" fmla="*/ 5 w 11"/>
                <a:gd name="T7" fmla="*/ 0 h 30"/>
                <a:gd name="T8" fmla="*/ 11 w 11"/>
                <a:gd name="T9" fmla="*/ 6 h 30"/>
                <a:gd name="T10" fmla="*/ 11 w 11"/>
                <a:gd name="T11" fmla="*/ 24 h 30"/>
                <a:gd name="T12" fmla="*/ 5 w 11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0">
                  <a:moveTo>
                    <a:pt x="5" y="30"/>
                  </a:moveTo>
                  <a:cubicBezTo>
                    <a:pt x="2" y="30"/>
                    <a:pt x="0" y="27"/>
                    <a:pt x="0" y="2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7"/>
                    <a:pt x="8" y="30"/>
                    <a:pt x="5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8" name="Freeform 1451">
              <a:extLst>
                <a:ext uri="{FF2B5EF4-FFF2-40B4-BE49-F238E27FC236}">
                  <a16:creationId xmlns:a16="http://schemas.microsoft.com/office/drawing/2014/main" id="{C3A0655A-3351-DD83-CA51-96AC726D15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313237" y="3477587"/>
              <a:ext cx="344488" cy="236537"/>
            </a:xfrm>
            <a:custGeom>
              <a:avLst/>
              <a:gdLst>
                <a:gd name="T0" fmla="*/ 328 w 333"/>
                <a:gd name="T1" fmla="*/ 228 h 228"/>
                <a:gd name="T2" fmla="*/ 5 w 333"/>
                <a:gd name="T3" fmla="*/ 228 h 228"/>
                <a:gd name="T4" fmla="*/ 0 w 333"/>
                <a:gd name="T5" fmla="*/ 222 h 228"/>
                <a:gd name="T6" fmla="*/ 0 w 333"/>
                <a:gd name="T7" fmla="*/ 6 h 228"/>
                <a:gd name="T8" fmla="*/ 3 w 333"/>
                <a:gd name="T9" fmla="*/ 1 h 228"/>
                <a:gd name="T10" fmla="*/ 9 w 333"/>
                <a:gd name="T11" fmla="*/ 2 h 228"/>
                <a:gd name="T12" fmla="*/ 166 w 333"/>
                <a:gd name="T13" fmla="*/ 146 h 228"/>
                <a:gd name="T14" fmla="*/ 252 w 333"/>
                <a:gd name="T15" fmla="*/ 68 h 228"/>
                <a:gd name="T16" fmla="*/ 260 w 333"/>
                <a:gd name="T17" fmla="*/ 68 h 228"/>
                <a:gd name="T18" fmla="*/ 328 w 333"/>
                <a:gd name="T19" fmla="*/ 98 h 228"/>
                <a:gd name="T20" fmla="*/ 333 w 333"/>
                <a:gd name="T21" fmla="*/ 104 h 228"/>
                <a:gd name="T22" fmla="*/ 333 w 333"/>
                <a:gd name="T23" fmla="*/ 222 h 228"/>
                <a:gd name="T24" fmla="*/ 328 w 333"/>
                <a:gd name="T25" fmla="*/ 228 h 228"/>
                <a:gd name="T26" fmla="*/ 18 w 333"/>
                <a:gd name="T27" fmla="*/ 217 h 228"/>
                <a:gd name="T28" fmla="*/ 314 w 333"/>
                <a:gd name="T29" fmla="*/ 217 h 228"/>
                <a:gd name="T30" fmla="*/ 210 w 333"/>
                <a:gd name="T31" fmla="*/ 121 h 228"/>
                <a:gd name="T32" fmla="*/ 170 w 333"/>
                <a:gd name="T33" fmla="*/ 157 h 228"/>
                <a:gd name="T34" fmla="*/ 163 w 333"/>
                <a:gd name="T35" fmla="*/ 157 h 228"/>
                <a:gd name="T36" fmla="*/ 123 w 333"/>
                <a:gd name="T37" fmla="*/ 121 h 228"/>
                <a:gd name="T38" fmla="*/ 18 w 333"/>
                <a:gd name="T39" fmla="*/ 217 h 228"/>
                <a:gd name="T40" fmla="*/ 11 w 333"/>
                <a:gd name="T41" fmla="*/ 19 h 228"/>
                <a:gd name="T42" fmla="*/ 11 w 333"/>
                <a:gd name="T43" fmla="*/ 209 h 228"/>
                <a:gd name="T44" fmla="*/ 115 w 333"/>
                <a:gd name="T45" fmla="*/ 114 h 228"/>
                <a:gd name="T46" fmla="*/ 11 w 333"/>
                <a:gd name="T47" fmla="*/ 19 h 228"/>
                <a:gd name="T48" fmla="*/ 218 w 333"/>
                <a:gd name="T49" fmla="*/ 114 h 228"/>
                <a:gd name="T50" fmla="*/ 322 w 333"/>
                <a:gd name="T51" fmla="*/ 209 h 228"/>
                <a:gd name="T52" fmla="*/ 322 w 333"/>
                <a:gd name="T53" fmla="*/ 109 h 228"/>
                <a:gd name="T54" fmla="*/ 256 w 333"/>
                <a:gd name="T55" fmla="*/ 80 h 228"/>
                <a:gd name="T56" fmla="*/ 218 w 333"/>
                <a:gd name="T57" fmla="*/ 11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3" h="228">
                  <a:moveTo>
                    <a:pt x="328" y="228"/>
                  </a:moveTo>
                  <a:cubicBezTo>
                    <a:pt x="5" y="228"/>
                    <a:pt x="5" y="228"/>
                    <a:pt x="5" y="228"/>
                  </a:cubicBezTo>
                  <a:cubicBezTo>
                    <a:pt x="2" y="228"/>
                    <a:pt x="0" y="225"/>
                    <a:pt x="0" y="22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5" y="0"/>
                    <a:pt x="7" y="1"/>
                    <a:pt x="9" y="2"/>
                  </a:cubicBezTo>
                  <a:cubicBezTo>
                    <a:pt x="166" y="146"/>
                    <a:pt x="166" y="146"/>
                    <a:pt x="166" y="146"/>
                  </a:cubicBezTo>
                  <a:cubicBezTo>
                    <a:pt x="252" y="68"/>
                    <a:pt x="252" y="68"/>
                    <a:pt x="252" y="68"/>
                  </a:cubicBezTo>
                  <a:cubicBezTo>
                    <a:pt x="254" y="66"/>
                    <a:pt x="258" y="66"/>
                    <a:pt x="260" y="68"/>
                  </a:cubicBezTo>
                  <a:cubicBezTo>
                    <a:pt x="277" y="87"/>
                    <a:pt x="302" y="98"/>
                    <a:pt x="328" y="98"/>
                  </a:cubicBezTo>
                  <a:cubicBezTo>
                    <a:pt x="331" y="98"/>
                    <a:pt x="333" y="101"/>
                    <a:pt x="333" y="104"/>
                  </a:cubicBezTo>
                  <a:cubicBezTo>
                    <a:pt x="333" y="222"/>
                    <a:pt x="333" y="222"/>
                    <a:pt x="333" y="222"/>
                  </a:cubicBezTo>
                  <a:cubicBezTo>
                    <a:pt x="333" y="225"/>
                    <a:pt x="331" y="228"/>
                    <a:pt x="328" y="228"/>
                  </a:cubicBezTo>
                  <a:close/>
                  <a:moveTo>
                    <a:pt x="18" y="217"/>
                  </a:moveTo>
                  <a:cubicBezTo>
                    <a:pt x="314" y="217"/>
                    <a:pt x="314" y="217"/>
                    <a:pt x="314" y="217"/>
                  </a:cubicBezTo>
                  <a:cubicBezTo>
                    <a:pt x="210" y="121"/>
                    <a:pt x="210" y="121"/>
                    <a:pt x="210" y="121"/>
                  </a:cubicBezTo>
                  <a:cubicBezTo>
                    <a:pt x="170" y="157"/>
                    <a:pt x="170" y="157"/>
                    <a:pt x="170" y="157"/>
                  </a:cubicBezTo>
                  <a:cubicBezTo>
                    <a:pt x="168" y="159"/>
                    <a:pt x="165" y="159"/>
                    <a:pt x="163" y="157"/>
                  </a:cubicBezTo>
                  <a:cubicBezTo>
                    <a:pt x="123" y="121"/>
                    <a:pt x="123" y="121"/>
                    <a:pt x="123" y="121"/>
                  </a:cubicBezTo>
                  <a:lnTo>
                    <a:pt x="18" y="217"/>
                  </a:lnTo>
                  <a:close/>
                  <a:moveTo>
                    <a:pt x="11" y="19"/>
                  </a:moveTo>
                  <a:cubicBezTo>
                    <a:pt x="11" y="209"/>
                    <a:pt x="11" y="209"/>
                    <a:pt x="11" y="209"/>
                  </a:cubicBezTo>
                  <a:cubicBezTo>
                    <a:pt x="115" y="114"/>
                    <a:pt x="115" y="114"/>
                    <a:pt x="115" y="114"/>
                  </a:cubicBezTo>
                  <a:lnTo>
                    <a:pt x="11" y="19"/>
                  </a:lnTo>
                  <a:close/>
                  <a:moveTo>
                    <a:pt x="218" y="114"/>
                  </a:moveTo>
                  <a:cubicBezTo>
                    <a:pt x="322" y="209"/>
                    <a:pt x="322" y="209"/>
                    <a:pt x="322" y="209"/>
                  </a:cubicBezTo>
                  <a:cubicBezTo>
                    <a:pt x="322" y="109"/>
                    <a:pt x="322" y="109"/>
                    <a:pt x="322" y="109"/>
                  </a:cubicBezTo>
                  <a:cubicBezTo>
                    <a:pt x="297" y="108"/>
                    <a:pt x="273" y="97"/>
                    <a:pt x="256" y="80"/>
                  </a:cubicBezTo>
                  <a:lnTo>
                    <a:pt x="21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9" name="Freeform 1452">
              <a:extLst>
                <a:ext uri="{FF2B5EF4-FFF2-40B4-BE49-F238E27FC236}">
                  <a16:creationId xmlns:a16="http://schemas.microsoft.com/office/drawing/2014/main" id="{59CD73E1-C774-B8E2-83AA-68908FCAC6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314827" y="3477591"/>
              <a:ext cx="271463" cy="165100"/>
            </a:xfrm>
            <a:custGeom>
              <a:avLst/>
              <a:gdLst>
                <a:gd name="T0" fmla="*/ 167 w 262"/>
                <a:gd name="T1" fmla="*/ 158 h 158"/>
                <a:gd name="T2" fmla="*/ 164 w 262"/>
                <a:gd name="T3" fmla="*/ 156 h 158"/>
                <a:gd name="T4" fmla="*/ 3 w 262"/>
                <a:gd name="T5" fmla="*/ 9 h 158"/>
                <a:gd name="T6" fmla="*/ 1 w 262"/>
                <a:gd name="T7" fmla="*/ 3 h 158"/>
                <a:gd name="T8" fmla="*/ 6 w 262"/>
                <a:gd name="T9" fmla="*/ 0 h 158"/>
                <a:gd name="T10" fmla="*/ 231 w 262"/>
                <a:gd name="T11" fmla="*/ 0 h 158"/>
                <a:gd name="T12" fmla="*/ 237 w 262"/>
                <a:gd name="T13" fmla="*/ 5 h 158"/>
                <a:gd name="T14" fmla="*/ 261 w 262"/>
                <a:gd name="T15" fmla="*/ 67 h 158"/>
                <a:gd name="T16" fmla="*/ 262 w 262"/>
                <a:gd name="T17" fmla="*/ 71 h 158"/>
                <a:gd name="T18" fmla="*/ 260 w 262"/>
                <a:gd name="T19" fmla="*/ 75 h 158"/>
                <a:gd name="T20" fmla="*/ 171 w 262"/>
                <a:gd name="T21" fmla="*/ 156 h 158"/>
                <a:gd name="T22" fmla="*/ 167 w 262"/>
                <a:gd name="T23" fmla="*/ 158 h 158"/>
                <a:gd name="T24" fmla="*/ 20 w 262"/>
                <a:gd name="T25" fmla="*/ 11 h 158"/>
                <a:gd name="T26" fmla="*/ 167 w 262"/>
                <a:gd name="T27" fmla="*/ 145 h 158"/>
                <a:gd name="T28" fmla="*/ 249 w 262"/>
                <a:gd name="T29" fmla="*/ 70 h 158"/>
                <a:gd name="T30" fmla="*/ 226 w 262"/>
                <a:gd name="T31" fmla="*/ 11 h 158"/>
                <a:gd name="T32" fmla="*/ 20 w 262"/>
                <a:gd name="T33" fmla="*/ 11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2" h="158">
                  <a:moveTo>
                    <a:pt x="167" y="158"/>
                  </a:moveTo>
                  <a:cubicBezTo>
                    <a:pt x="166" y="158"/>
                    <a:pt x="165" y="157"/>
                    <a:pt x="164" y="15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8"/>
                    <a:pt x="0" y="5"/>
                    <a:pt x="1" y="3"/>
                  </a:cubicBezTo>
                  <a:cubicBezTo>
                    <a:pt x="2" y="1"/>
                    <a:pt x="4" y="0"/>
                    <a:pt x="6" y="0"/>
                  </a:cubicBezTo>
                  <a:cubicBezTo>
                    <a:pt x="231" y="0"/>
                    <a:pt x="231" y="0"/>
                    <a:pt x="231" y="0"/>
                  </a:cubicBezTo>
                  <a:cubicBezTo>
                    <a:pt x="234" y="0"/>
                    <a:pt x="237" y="2"/>
                    <a:pt x="237" y="5"/>
                  </a:cubicBezTo>
                  <a:cubicBezTo>
                    <a:pt x="237" y="28"/>
                    <a:pt x="245" y="50"/>
                    <a:pt x="261" y="67"/>
                  </a:cubicBezTo>
                  <a:cubicBezTo>
                    <a:pt x="262" y="68"/>
                    <a:pt x="262" y="70"/>
                    <a:pt x="262" y="71"/>
                  </a:cubicBezTo>
                  <a:cubicBezTo>
                    <a:pt x="262" y="73"/>
                    <a:pt x="262" y="74"/>
                    <a:pt x="260" y="75"/>
                  </a:cubicBezTo>
                  <a:cubicBezTo>
                    <a:pt x="171" y="156"/>
                    <a:pt x="171" y="156"/>
                    <a:pt x="171" y="156"/>
                  </a:cubicBezTo>
                  <a:cubicBezTo>
                    <a:pt x="170" y="157"/>
                    <a:pt x="169" y="158"/>
                    <a:pt x="167" y="158"/>
                  </a:cubicBezTo>
                  <a:close/>
                  <a:moveTo>
                    <a:pt x="20" y="11"/>
                  </a:moveTo>
                  <a:cubicBezTo>
                    <a:pt x="167" y="145"/>
                    <a:pt x="167" y="145"/>
                    <a:pt x="167" y="145"/>
                  </a:cubicBezTo>
                  <a:cubicBezTo>
                    <a:pt x="249" y="70"/>
                    <a:pt x="249" y="70"/>
                    <a:pt x="249" y="70"/>
                  </a:cubicBezTo>
                  <a:cubicBezTo>
                    <a:pt x="235" y="53"/>
                    <a:pt x="227" y="33"/>
                    <a:pt x="226" y="11"/>
                  </a:cubicBezTo>
                  <a:lnTo>
                    <a:pt x="20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0" name="Freeform 1453">
              <a:extLst>
                <a:ext uri="{FF2B5EF4-FFF2-40B4-BE49-F238E27FC236}">
                  <a16:creationId xmlns:a16="http://schemas.microsoft.com/office/drawing/2014/main" id="{78DB935D-64CB-D25E-0E1B-3E3BD09CB5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079875" y="3377580"/>
              <a:ext cx="212725" cy="212725"/>
            </a:xfrm>
            <a:custGeom>
              <a:avLst/>
              <a:gdLst>
                <a:gd name="T0" fmla="*/ 103 w 205"/>
                <a:gd name="T1" fmla="*/ 205 h 205"/>
                <a:gd name="T2" fmla="*/ 27 w 205"/>
                <a:gd name="T3" fmla="*/ 172 h 205"/>
                <a:gd name="T4" fmla="*/ 0 w 205"/>
                <a:gd name="T5" fmla="*/ 102 h 205"/>
                <a:gd name="T6" fmla="*/ 103 w 205"/>
                <a:gd name="T7" fmla="*/ 0 h 205"/>
                <a:gd name="T8" fmla="*/ 205 w 205"/>
                <a:gd name="T9" fmla="*/ 102 h 205"/>
                <a:gd name="T10" fmla="*/ 103 w 205"/>
                <a:gd name="T11" fmla="*/ 205 h 205"/>
                <a:gd name="T12" fmla="*/ 103 w 205"/>
                <a:gd name="T13" fmla="*/ 11 h 205"/>
                <a:gd name="T14" fmla="*/ 11 w 205"/>
                <a:gd name="T15" fmla="*/ 102 h 205"/>
                <a:gd name="T16" fmla="*/ 35 w 205"/>
                <a:gd name="T17" fmla="*/ 164 h 205"/>
                <a:gd name="T18" fmla="*/ 103 w 205"/>
                <a:gd name="T19" fmla="*/ 194 h 205"/>
                <a:gd name="T20" fmla="*/ 194 w 205"/>
                <a:gd name="T21" fmla="*/ 102 h 205"/>
                <a:gd name="T22" fmla="*/ 103 w 205"/>
                <a:gd name="T23" fmla="*/ 1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5" h="205">
                  <a:moveTo>
                    <a:pt x="103" y="205"/>
                  </a:moveTo>
                  <a:cubicBezTo>
                    <a:pt x="74" y="205"/>
                    <a:pt x="46" y="193"/>
                    <a:pt x="27" y="172"/>
                  </a:cubicBezTo>
                  <a:cubicBezTo>
                    <a:pt x="9" y="153"/>
                    <a:pt x="0" y="128"/>
                    <a:pt x="0" y="102"/>
                  </a:cubicBezTo>
                  <a:cubicBezTo>
                    <a:pt x="0" y="46"/>
                    <a:pt x="46" y="0"/>
                    <a:pt x="103" y="0"/>
                  </a:cubicBezTo>
                  <a:cubicBezTo>
                    <a:pt x="159" y="0"/>
                    <a:pt x="205" y="46"/>
                    <a:pt x="205" y="102"/>
                  </a:cubicBezTo>
                  <a:cubicBezTo>
                    <a:pt x="205" y="159"/>
                    <a:pt x="159" y="205"/>
                    <a:pt x="103" y="205"/>
                  </a:cubicBezTo>
                  <a:close/>
                  <a:moveTo>
                    <a:pt x="103" y="11"/>
                  </a:moveTo>
                  <a:cubicBezTo>
                    <a:pt x="52" y="11"/>
                    <a:pt x="11" y="52"/>
                    <a:pt x="11" y="102"/>
                  </a:cubicBezTo>
                  <a:cubicBezTo>
                    <a:pt x="11" y="125"/>
                    <a:pt x="19" y="147"/>
                    <a:pt x="35" y="164"/>
                  </a:cubicBezTo>
                  <a:cubicBezTo>
                    <a:pt x="52" y="183"/>
                    <a:pt x="77" y="194"/>
                    <a:pt x="103" y="194"/>
                  </a:cubicBezTo>
                  <a:cubicBezTo>
                    <a:pt x="153" y="194"/>
                    <a:pt x="194" y="153"/>
                    <a:pt x="194" y="102"/>
                  </a:cubicBezTo>
                  <a:cubicBezTo>
                    <a:pt x="194" y="52"/>
                    <a:pt x="153" y="11"/>
                    <a:pt x="10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51" name="Shape54_20200717_142846">
            <a:extLst>
              <a:ext uri="{FF2B5EF4-FFF2-40B4-BE49-F238E27FC236}">
                <a16:creationId xmlns:a16="http://schemas.microsoft.com/office/drawing/2014/main" id="{386BE395-0EB2-C7E5-B69C-114A9C681B22}"/>
              </a:ext>
            </a:extLst>
          </p:cNvPr>
          <p:cNvGrpSpPr>
            <a:grpSpLocks noChangeAspect="1"/>
          </p:cNvGrpSpPr>
          <p:nvPr/>
        </p:nvGrpSpPr>
        <p:grpSpPr>
          <a:xfrm>
            <a:off x="608700" y="2565229"/>
            <a:ext cx="530131" cy="527748"/>
            <a:chOff x="-2055801" y="1783731"/>
            <a:chExt cx="350826" cy="349251"/>
          </a:xfrm>
          <a:solidFill>
            <a:schemeClr val="accent1"/>
          </a:solidFill>
        </p:grpSpPr>
        <p:sp>
          <p:nvSpPr>
            <p:cNvPr id="152" name="Freeform 1522">
              <a:extLst>
                <a:ext uri="{FF2B5EF4-FFF2-40B4-BE49-F238E27FC236}">
                  <a16:creationId xmlns:a16="http://schemas.microsoft.com/office/drawing/2014/main" id="{595528BF-A3B1-40E9-932C-B90D599C46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84363" y="2004394"/>
              <a:ext cx="11113" cy="107950"/>
            </a:xfrm>
            <a:custGeom>
              <a:avLst/>
              <a:gdLst>
                <a:gd name="T0" fmla="*/ 5 w 11"/>
                <a:gd name="T1" fmla="*/ 104 h 104"/>
                <a:gd name="T2" fmla="*/ 0 w 11"/>
                <a:gd name="T3" fmla="*/ 98 h 104"/>
                <a:gd name="T4" fmla="*/ 0 w 11"/>
                <a:gd name="T5" fmla="*/ 6 h 104"/>
                <a:gd name="T6" fmla="*/ 5 w 11"/>
                <a:gd name="T7" fmla="*/ 0 h 104"/>
                <a:gd name="T8" fmla="*/ 11 w 11"/>
                <a:gd name="T9" fmla="*/ 6 h 104"/>
                <a:gd name="T10" fmla="*/ 11 w 11"/>
                <a:gd name="T11" fmla="*/ 98 h 104"/>
                <a:gd name="T12" fmla="*/ 5 w 11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4">
                  <a:moveTo>
                    <a:pt x="5" y="104"/>
                  </a:moveTo>
                  <a:cubicBezTo>
                    <a:pt x="2" y="104"/>
                    <a:pt x="0" y="101"/>
                    <a:pt x="0" y="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101"/>
                    <a:pt x="8" y="104"/>
                    <a:pt x="5" y="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3" name="Freeform 1523">
              <a:extLst>
                <a:ext uri="{FF2B5EF4-FFF2-40B4-BE49-F238E27FC236}">
                  <a16:creationId xmlns:a16="http://schemas.microsoft.com/office/drawing/2014/main" id="{D63A8908-982E-DB3C-A415-6826B82793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55801" y="1858344"/>
              <a:ext cx="220662" cy="274638"/>
            </a:xfrm>
            <a:custGeom>
              <a:avLst/>
              <a:gdLst>
                <a:gd name="T0" fmla="*/ 93 w 214"/>
                <a:gd name="T1" fmla="*/ 263 h 264"/>
                <a:gd name="T2" fmla="*/ 77 w 214"/>
                <a:gd name="T3" fmla="*/ 257 h 264"/>
                <a:gd name="T4" fmla="*/ 74 w 214"/>
                <a:gd name="T5" fmla="*/ 254 h 264"/>
                <a:gd name="T6" fmla="*/ 71 w 214"/>
                <a:gd name="T7" fmla="*/ 257 h 264"/>
                <a:gd name="T8" fmla="*/ 52 w 214"/>
                <a:gd name="T9" fmla="*/ 263 h 264"/>
                <a:gd name="T10" fmla="*/ 30 w 214"/>
                <a:gd name="T11" fmla="*/ 238 h 264"/>
                <a:gd name="T12" fmla="*/ 30 w 214"/>
                <a:gd name="T13" fmla="*/ 135 h 264"/>
                <a:gd name="T14" fmla="*/ 23 w 214"/>
                <a:gd name="T15" fmla="*/ 137 h 264"/>
                <a:gd name="T16" fmla="*/ 7 w 214"/>
                <a:gd name="T17" fmla="*/ 132 h 264"/>
                <a:gd name="T18" fmla="*/ 0 w 214"/>
                <a:gd name="T19" fmla="*/ 116 h 264"/>
                <a:gd name="T20" fmla="*/ 0 w 214"/>
                <a:gd name="T21" fmla="*/ 36 h 264"/>
                <a:gd name="T22" fmla="*/ 36 w 214"/>
                <a:gd name="T23" fmla="*/ 0 h 264"/>
                <a:gd name="T24" fmla="*/ 112 w 214"/>
                <a:gd name="T25" fmla="*/ 0 h 264"/>
                <a:gd name="T26" fmla="*/ 133 w 214"/>
                <a:gd name="T27" fmla="*/ 8 h 264"/>
                <a:gd name="T28" fmla="*/ 166 w 214"/>
                <a:gd name="T29" fmla="*/ 33 h 264"/>
                <a:gd name="T30" fmla="*/ 200 w 214"/>
                <a:gd name="T31" fmla="*/ 44 h 264"/>
                <a:gd name="T32" fmla="*/ 211 w 214"/>
                <a:gd name="T33" fmla="*/ 54 h 264"/>
                <a:gd name="T34" fmla="*/ 212 w 214"/>
                <a:gd name="T35" fmla="*/ 69 h 264"/>
                <a:gd name="T36" fmla="*/ 190 w 214"/>
                <a:gd name="T37" fmla="*/ 81 h 264"/>
                <a:gd name="T38" fmla="*/ 170 w 214"/>
                <a:gd name="T39" fmla="*/ 77 h 264"/>
                <a:gd name="T40" fmla="*/ 133 w 214"/>
                <a:gd name="T41" fmla="*/ 65 h 264"/>
                <a:gd name="T42" fmla="*/ 118 w 214"/>
                <a:gd name="T43" fmla="*/ 58 h 264"/>
                <a:gd name="T44" fmla="*/ 118 w 214"/>
                <a:gd name="T45" fmla="*/ 115 h 264"/>
                <a:gd name="T46" fmla="*/ 118 w 214"/>
                <a:gd name="T47" fmla="*/ 116 h 264"/>
                <a:gd name="T48" fmla="*/ 118 w 214"/>
                <a:gd name="T49" fmla="*/ 238 h 264"/>
                <a:gd name="T50" fmla="*/ 96 w 214"/>
                <a:gd name="T51" fmla="*/ 263 h 264"/>
                <a:gd name="T52" fmla="*/ 93 w 214"/>
                <a:gd name="T53" fmla="*/ 263 h 264"/>
                <a:gd name="T54" fmla="*/ 80 w 214"/>
                <a:gd name="T55" fmla="*/ 238 h 264"/>
                <a:gd name="T56" fmla="*/ 84 w 214"/>
                <a:gd name="T57" fmla="*/ 249 h 264"/>
                <a:gd name="T58" fmla="*/ 95 w 214"/>
                <a:gd name="T59" fmla="*/ 252 h 264"/>
                <a:gd name="T60" fmla="*/ 107 w 214"/>
                <a:gd name="T61" fmla="*/ 238 h 264"/>
                <a:gd name="T62" fmla="*/ 107 w 214"/>
                <a:gd name="T63" fmla="*/ 116 h 264"/>
                <a:gd name="T64" fmla="*/ 107 w 214"/>
                <a:gd name="T65" fmla="*/ 116 h 264"/>
                <a:gd name="T66" fmla="*/ 107 w 214"/>
                <a:gd name="T67" fmla="*/ 50 h 264"/>
                <a:gd name="T68" fmla="*/ 109 w 214"/>
                <a:gd name="T69" fmla="*/ 45 h 264"/>
                <a:gd name="T70" fmla="*/ 115 w 214"/>
                <a:gd name="T71" fmla="*/ 45 h 264"/>
                <a:gd name="T72" fmla="*/ 137 w 214"/>
                <a:gd name="T73" fmla="*/ 55 h 264"/>
                <a:gd name="T74" fmla="*/ 172 w 214"/>
                <a:gd name="T75" fmla="*/ 66 h 264"/>
                <a:gd name="T76" fmla="*/ 193 w 214"/>
                <a:gd name="T77" fmla="*/ 70 h 264"/>
                <a:gd name="T78" fmla="*/ 202 w 214"/>
                <a:gd name="T79" fmla="*/ 65 h 264"/>
                <a:gd name="T80" fmla="*/ 201 w 214"/>
                <a:gd name="T81" fmla="*/ 59 h 264"/>
                <a:gd name="T82" fmla="*/ 197 w 214"/>
                <a:gd name="T83" fmla="*/ 54 h 264"/>
                <a:gd name="T84" fmla="*/ 161 w 214"/>
                <a:gd name="T85" fmla="*/ 43 h 264"/>
                <a:gd name="T86" fmla="*/ 160 w 214"/>
                <a:gd name="T87" fmla="*/ 42 h 264"/>
                <a:gd name="T88" fmla="*/ 126 w 214"/>
                <a:gd name="T89" fmla="*/ 16 h 264"/>
                <a:gd name="T90" fmla="*/ 112 w 214"/>
                <a:gd name="T91" fmla="*/ 11 h 264"/>
                <a:gd name="T92" fmla="*/ 36 w 214"/>
                <a:gd name="T93" fmla="*/ 11 h 264"/>
                <a:gd name="T94" fmla="*/ 11 w 214"/>
                <a:gd name="T95" fmla="*/ 36 h 264"/>
                <a:gd name="T96" fmla="*/ 11 w 214"/>
                <a:gd name="T97" fmla="*/ 116 h 264"/>
                <a:gd name="T98" fmla="*/ 14 w 214"/>
                <a:gd name="T99" fmla="*/ 124 h 264"/>
                <a:gd name="T100" fmla="*/ 22 w 214"/>
                <a:gd name="T101" fmla="*/ 126 h 264"/>
                <a:gd name="T102" fmla="*/ 30 w 214"/>
                <a:gd name="T103" fmla="*/ 116 h 264"/>
                <a:gd name="T104" fmla="*/ 36 w 214"/>
                <a:gd name="T105" fmla="*/ 110 h 264"/>
                <a:gd name="T106" fmla="*/ 41 w 214"/>
                <a:gd name="T107" fmla="*/ 116 h 264"/>
                <a:gd name="T108" fmla="*/ 41 w 214"/>
                <a:gd name="T109" fmla="*/ 238 h 264"/>
                <a:gd name="T110" fmla="*/ 54 w 214"/>
                <a:gd name="T111" fmla="*/ 252 h 264"/>
                <a:gd name="T112" fmla="*/ 64 w 214"/>
                <a:gd name="T113" fmla="*/ 249 h 264"/>
                <a:gd name="T114" fmla="*/ 69 w 214"/>
                <a:gd name="T115" fmla="*/ 238 h 264"/>
                <a:gd name="T116" fmla="*/ 74 w 214"/>
                <a:gd name="T117" fmla="*/ 233 h 264"/>
                <a:gd name="T118" fmla="*/ 80 w 214"/>
                <a:gd name="T119" fmla="*/ 238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4" h="264">
                  <a:moveTo>
                    <a:pt x="93" y="263"/>
                  </a:moveTo>
                  <a:cubicBezTo>
                    <a:pt x="87" y="263"/>
                    <a:pt x="81" y="261"/>
                    <a:pt x="77" y="257"/>
                  </a:cubicBezTo>
                  <a:cubicBezTo>
                    <a:pt x="76" y="256"/>
                    <a:pt x="75" y="255"/>
                    <a:pt x="74" y="254"/>
                  </a:cubicBezTo>
                  <a:cubicBezTo>
                    <a:pt x="73" y="255"/>
                    <a:pt x="72" y="256"/>
                    <a:pt x="71" y="257"/>
                  </a:cubicBezTo>
                  <a:cubicBezTo>
                    <a:pt x="66" y="261"/>
                    <a:pt x="59" y="264"/>
                    <a:pt x="52" y="263"/>
                  </a:cubicBezTo>
                  <a:cubicBezTo>
                    <a:pt x="40" y="262"/>
                    <a:pt x="30" y="251"/>
                    <a:pt x="30" y="238"/>
                  </a:cubicBezTo>
                  <a:cubicBezTo>
                    <a:pt x="30" y="135"/>
                    <a:pt x="30" y="135"/>
                    <a:pt x="30" y="135"/>
                  </a:cubicBezTo>
                  <a:cubicBezTo>
                    <a:pt x="28" y="136"/>
                    <a:pt x="25" y="137"/>
                    <a:pt x="23" y="137"/>
                  </a:cubicBezTo>
                  <a:cubicBezTo>
                    <a:pt x="17" y="138"/>
                    <a:pt x="11" y="136"/>
                    <a:pt x="7" y="132"/>
                  </a:cubicBezTo>
                  <a:cubicBezTo>
                    <a:pt x="2" y="128"/>
                    <a:pt x="0" y="122"/>
                    <a:pt x="0" y="11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20" y="0"/>
                    <a:pt x="127" y="3"/>
                    <a:pt x="133" y="8"/>
                  </a:cubicBezTo>
                  <a:cubicBezTo>
                    <a:pt x="166" y="33"/>
                    <a:pt x="166" y="33"/>
                    <a:pt x="166" y="33"/>
                  </a:cubicBezTo>
                  <a:cubicBezTo>
                    <a:pt x="200" y="44"/>
                    <a:pt x="200" y="44"/>
                    <a:pt x="200" y="44"/>
                  </a:cubicBezTo>
                  <a:cubicBezTo>
                    <a:pt x="205" y="46"/>
                    <a:pt x="209" y="49"/>
                    <a:pt x="211" y="54"/>
                  </a:cubicBezTo>
                  <a:cubicBezTo>
                    <a:pt x="214" y="59"/>
                    <a:pt x="214" y="64"/>
                    <a:pt x="212" y="69"/>
                  </a:cubicBezTo>
                  <a:cubicBezTo>
                    <a:pt x="209" y="78"/>
                    <a:pt x="200" y="83"/>
                    <a:pt x="190" y="81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57" y="75"/>
                    <a:pt x="145" y="71"/>
                    <a:pt x="133" y="65"/>
                  </a:cubicBezTo>
                  <a:cubicBezTo>
                    <a:pt x="118" y="58"/>
                    <a:pt x="118" y="58"/>
                    <a:pt x="118" y="58"/>
                  </a:cubicBezTo>
                  <a:cubicBezTo>
                    <a:pt x="118" y="115"/>
                    <a:pt x="118" y="115"/>
                    <a:pt x="118" y="115"/>
                  </a:cubicBezTo>
                  <a:cubicBezTo>
                    <a:pt x="118" y="116"/>
                    <a:pt x="118" y="116"/>
                    <a:pt x="118" y="116"/>
                  </a:cubicBezTo>
                  <a:cubicBezTo>
                    <a:pt x="118" y="238"/>
                    <a:pt x="118" y="238"/>
                    <a:pt x="118" y="238"/>
                  </a:cubicBezTo>
                  <a:cubicBezTo>
                    <a:pt x="118" y="251"/>
                    <a:pt x="108" y="262"/>
                    <a:pt x="96" y="263"/>
                  </a:cubicBezTo>
                  <a:cubicBezTo>
                    <a:pt x="95" y="263"/>
                    <a:pt x="94" y="263"/>
                    <a:pt x="93" y="263"/>
                  </a:cubicBezTo>
                  <a:close/>
                  <a:moveTo>
                    <a:pt x="80" y="238"/>
                  </a:moveTo>
                  <a:cubicBezTo>
                    <a:pt x="80" y="242"/>
                    <a:pt x="81" y="246"/>
                    <a:pt x="84" y="249"/>
                  </a:cubicBezTo>
                  <a:cubicBezTo>
                    <a:pt x="87" y="251"/>
                    <a:pt x="91" y="252"/>
                    <a:pt x="95" y="252"/>
                  </a:cubicBezTo>
                  <a:cubicBezTo>
                    <a:pt x="101" y="251"/>
                    <a:pt x="107" y="245"/>
                    <a:pt x="107" y="238"/>
                  </a:cubicBezTo>
                  <a:cubicBezTo>
                    <a:pt x="107" y="116"/>
                    <a:pt x="107" y="116"/>
                    <a:pt x="107" y="116"/>
                  </a:cubicBezTo>
                  <a:cubicBezTo>
                    <a:pt x="107" y="116"/>
                    <a:pt x="107" y="116"/>
                    <a:pt x="107" y="116"/>
                  </a:cubicBezTo>
                  <a:cubicBezTo>
                    <a:pt x="107" y="50"/>
                    <a:pt x="107" y="50"/>
                    <a:pt x="107" y="50"/>
                  </a:cubicBezTo>
                  <a:cubicBezTo>
                    <a:pt x="107" y="48"/>
                    <a:pt x="108" y="46"/>
                    <a:pt x="109" y="45"/>
                  </a:cubicBezTo>
                  <a:cubicBezTo>
                    <a:pt x="111" y="44"/>
                    <a:pt x="113" y="44"/>
                    <a:pt x="115" y="4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48" y="60"/>
                    <a:pt x="160" y="64"/>
                    <a:pt x="172" y="66"/>
                  </a:cubicBezTo>
                  <a:cubicBezTo>
                    <a:pt x="193" y="70"/>
                    <a:pt x="193" y="70"/>
                    <a:pt x="193" y="70"/>
                  </a:cubicBezTo>
                  <a:cubicBezTo>
                    <a:pt x="196" y="71"/>
                    <a:pt x="200" y="69"/>
                    <a:pt x="202" y="65"/>
                  </a:cubicBezTo>
                  <a:cubicBezTo>
                    <a:pt x="202" y="63"/>
                    <a:pt x="202" y="61"/>
                    <a:pt x="201" y="59"/>
                  </a:cubicBezTo>
                  <a:cubicBezTo>
                    <a:pt x="200" y="57"/>
                    <a:pt x="199" y="55"/>
                    <a:pt x="197" y="54"/>
                  </a:cubicBezTo>
                  <a:cubicBezTo>
                    <a:pt x="161" y="43"/>
                    <a:pt x="161" y="43"/>
                    <a:pt x="161" y="43"/>
                  </a:cubicBezTo>
                  <a:cubicBezTo>
                    <a:pt x="161" y="43"/>
                    <a:pt x="160" y="43"/>
                    <a:pt x="160" y="42"/>
                  </a:cubicBezTo>
                  <a:cubicBezTo>
                    <a:pt x="126" y="16"/>
                    <a:pt x="126" y="16"/>
                    <a:pt x="126" y="16"/>
                  </a:cubicBezTo>
                  <a:cubicBezTo>
                    <a:pt x="122" y="13"/>
                    <a:pt x="117" y="11"/>
                    <a:pt x="112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2" y="11"/>
                    <a:pt x="11" y="22"/>
                    <a:pt x="11" y="3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9"/>
                    <a:pt x="12" y="122"/>
                    <a:pt x="14" y="124"/>
                  </a:cubicBezTo>
                  <a:cubicBezTo>
                    <a:pt x="16" y="126"/>
                    <a:pt x="19" y="126"/>
                    <a:pt x="22" y="126"/>
                  </a:cubicBezTo>
                  <a:cubicBezTo>
                    <a:pt x="26" y="126"/>
                    <a:pt x="30" y="121"/>
                    <a:pt x="30" y="116"/>
                  </a:cubicBezTo>
                  <a:cubicBezTo>
                    <a:pt x="30" y="113"/>
                    <a:pt x="33" y="110"/>
                    <a:pt x="36" y="110"/>
                  </a:cubicBezTo>
                  <a:cubicBezTo>
                    <a:pt x="39" y="110"/>
                    <a:pt x="41" y="113"/>
                    <a:pt x="41" y="116"/>
                  </a:cubicBezTo>
                  <a:cubicBezTo>
                    <a:pt x="41" y="238"/>
                    <a:pt x="41" y="238"/>
                    <a:pt x="41" y="238"/>
                  </a:cubicBezTo>
                  <a:cubicBezTo>
                    <a:pt x="41" y="245"/>
                    <a:pt x="47" y="251"/>
                    <a:pt x="54" y="252"/>
                  </a:cubicBezTo>
                  <a:cubicBezTo>
                    <a:pt x="57" y="252"/>
                    <a:pt x="61" y="251"/>
                    <a:pt x="64" y="249"/>
                  </a:cubicBezTo>
                  <a:cubicBezTo>
                    <a:pt x="67" y="246"/>
                    <a:pt x="69" y="242"/>
                    <a:pt x="69" y="238"/>
                  </a:cubicBezTo>
                  <a:cubicBezTo>
                    <a:pt x="69" y="235"/>
                    <a:pt x="71" y="233"/>
                    <a:pt x="74" y="233"/>
                  </a:cubicBezTo>
                  <a:cubicBezTo>
                    <a:pt x="77" y="233"/>
                    <a:pt x="80" y="235"/>
                    <a:pt x="80" y="2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4" name="Freeform 1524">
              <a:extLst>
                <a:ext uri="{FF2B5EF4-FFF2-40B4-BE49-F238E27FC236}">
                  <a16:creationId xmlns:a16="http://schemas.microsoft.com/office/drawing/2014/main" id="{E9ECB3F0-83F3-D0BE-CFE7-035264F3826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25639" y="1858344"/>
              <a:ext cx="92074" cy="11113"/>
            </a:xfrm>
            <a:custGeom>
              <a:avLst/>
              <a:gdLst>
                <a:gd name="T0" fmla="*/ 82 w 88"/>
                <a:gd name="T1" fmla="*/ 11 h 11"/>
                <a:gd name="T2" fmla="*/ 6 w 88"/>
                <a:gd name="T3" fmla="*/ 11 h 11"/>
                <a:gd name="T4" fmla="*/ 0 w 88"/>
                <a:gd name="T5" fmla="*/ 6 h 11"/>
                <a:gd name="T6" fmla="*/ 6 w 88"/>
                <a:gd name="T7" fmla="*/ 0 h 11"/>
                <a:gd name="T8" fmla="*/ 82 w 88"/>
                <a:gd name="T9" fmla="*/ 0 h 11"/>
                <a:gd name="T10" fmla="*/ 88 w 88"/>
                <a:gd name="T11" fmla="*/ 6 h 11"/>
                <a:gd name="T12" fmla="*/ 82 w 88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11">
                  <a:moveTo>
                    <a:pt x="82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5" y="0"/>
                    <a:pt x="88" y="3"/>
                    <a:pt x="88" y="6"/>
                  </a:cubicBezTo>
                  <a:cubicBezTo>
                    <a:pt x="88" y="9"/>
                    <a:pt x="85" y="11"/>
                    <a:pt x="8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5" name="Freeform 1525">
              <a:extLst>
                <a:ext uri="{FF2B5EF4-FFF2-40B4-BE49-F238E27FC236}">
                  <a16:creationId xmlns:a16="http://schemas.microsoft.com/office/drawing/2014/main" id="{FBD21697-E4EE-3A33-28B4-7246EC9F1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25637" y="1904380"/>
              <a:ext cx="11113" cy="79375"/>
            </a:xfrm>
            <a:custGeom>
              <a:avLst/>
              <a:gdLst>
                <a:gd name="T0" fmla="*/ 6 w 11"/>
                <a:gd name="T1" fmla="*/ 77 h 77"/>
                <a:gd name="T2" fmla="*/ 0 w 11"/>
                <a:gd name="T3" fmla="*/ 72 h 77"/>
                <a:gd name="T4" fmla="*/ 0 w 11"/>
                <a:gd name="T5" fmla="*/ 6 h 77"/>
                <a:gd name="T6" fmla="*/ 6 w 11"/>
                <a:gd name="T7" fmla="*/ 0 h 77"/>
                <a:gd name="T8" fmla="*/ 11 w 11"/>
                <a:gd name="T9" fmla="*/ 6 h 77"/>
                <a:gd name="T10" fmla="*/ 11 w 11"/>
                <a:gd name="T11" fmla="*/ 72 h 77"/>
                <a:gd name="T12" fmla="*/ 6 w 11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7">
                  <a:moveTo>
                    <a:pt x="6" y="77"/>
                  </a:moveTo>
                  <a:cubicBezTo>
                    <a:pt x="3" y="77"/>
                    <a:pt x="0" y="75"/>
                    <a:pt x="0" y="7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5"/>
                    <a:pt x="9" y="77"/>
                    <a:pt x="6" y="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6" name="Freeform 1526">
              <a:extLst>
                <a:ext uri="{FF2B5EF4-FFF2-40B4-BE49-F238E27FC236}">
                  <a16:creationId xmlns:a16="http://schemas.microsoft.com/office/drawing/2014/main" id="{ED134134-F67B-10CC-1768-3C6F574452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11351" y="1783731"/>
              <a:ext cx="63500" cy="65088"/>
            </a:xfrm>
            <a:custGeom>
              <a:avLst/>
              <a:gdLst>
                <a:gd name="T0" fmla="*/ 31 w 62"/>
                <a:gd name="T1" fmla="*/ 63 h 63"/>
                <a:gd name="T2" fmla="*/ 0 w 62"/>
                <a:gd name="T3" fmla="*/ 31 h 63"/>
                <a:gd name="T4" fmla="*/ 31 w 62"/>
                <a:gd name="T5" fmla="*/ 0 h 63"/>
                <a:gd name="T6" fmla="*/ 62 w 62"/>
                <a:gd name="T7" fmla="*/ 31 h 63"/>
                <a:gd name="T8" fmla="*/ 31 w 62"/>
                <a:gd name="T9" fmla="*/ 63 h 63"/>
                <a:gd name="T10" fmla="*/ 31 w 62"/>
                <a:gd name="T11" fmla="*/ 11 h 63"/>
                <a:gd name="T12" fmla="*/ 11 w 62"/>
                <a:gd name="T13" fmla="*/ 31 h 63"/>
                <a:gd name="T14" fmla="*/ 31 w 62"/>
                <a:gd name="T15" fmla="*/ 52 h 63"/>
                <a:gd name="T16" fmla="*/ 51 w 62"/>
                <a:gd name="T17" fmla="*/ 31 h 63"/>
                <a:gd name="T18" fmla="*/ 31 w 62"/>
                <a:gd name="T19" fmla="*/ 1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3">
                  <a:moveTo>
                    <a:pt x="31" y="63"/>
                  </a:moveTo>
                  <a:cubicBezTo>
                    <a:pt x="14" y="63"/>
                    <a:pt x="0" y="49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2" y="14"/>
                    <a:pt x="62" y="31"/>
                  </a:cubicBezTo>
                  <a:cubicBezTo>
                    <a:pt x="62" y="49"/>
                    <a:pt x="48" y="63"/>
                    <a:pt x="31" y="63"/>
                  </a:cubicBezTo>
                  <a:close/>
                  <a:moveTo>
                    <a:pt x="31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42"/>
                    <a:pt x="20" y="52"/>
                    <a:pt x="31" y="52"/>
                  </a:cubicBezTo>
                  <a:cubicBezTo>
                    <a:pt x="42" y="52"/>
                    <a:pt x="51" y="42"/>
                    <a:pt x="51" y="31"/>
                  </a:cubicBezTo>
                  <a:cubicBezTo>
                    <a:pt x="51" y="20"/>
                    <a:pt x="42" y="11"/>
                    <a:pt x="3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7" name="Freeform 1527">
              <a:extLst>
                <a:ext uri="{FF2B5EF4-FFF2-40B4-BE49-F238E27FC236}">
                  <a16:creationId xmlns:a16="http://schemas.microsoft.com/office/drawing/2014/main" id="{E0A8CCFE-BEBF-A1E1-3DC4-AD9C15D7B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60528" y="1918667"/>
              <a:ext cx="49213" cy="55563"/>
            </a:xfrm>
            <a:custGeom>
              <a:avLst/>
              <a:gdLst>
                <a:gd name="T0" fmla="*/ 34 w 47"/>
                <a:gd name="T1" fmla="*/ 54 h 54"/>
                <a:gd name="T2" fmla="*/ 33 w 47"/>
                <a:gd name="T3" fmla="*/ 54 h 54"/>
                <a:gd name="T4" fmla="*/ 28 w 47"/>
                <a:gd name="T5" fmla="*/ 48 h 54"/>
                <a:gd name="T6" fmla="*/ 35 w 47"/>
                <a:gd name="T7" fmla="*/ 18 h 54"/>
                <a:gd name="T8" fmla="*/ 5 w 47"/>
                <a:gd name="T9" fmla="*/ 12 h 54"/>
                <a:gd name="T10" fmla="*/ 1 w 47"/>
                <a:gd name="T11" fmla="*/ 5 h 54"/>
                <a:gd name="T12" fmla="*/ 7 w 47"/>
                <a:gd name="T13" fmla="*/ 1 h 54"/>
                <a:gd name="T14" fmla="*/ 42 w 47"/>
                <a:gd name="T15" fmla="*/ 9 h 54"/>
                <a:gd name="T16" fmla="*/ 47 w 47"/>
                <a:gd name="T17" fmla="*/ 15 h 54"/>
                <a:gd name="T18" fmla="*/ 39 w 47"/>
                <a:gd name="T19" fmla="*/ 50 h 54"/>
                <a:gd name="T20" fmla="*/ 34 w 47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54">
                  <a:moveTo>
                    <a:pt x="34" y="54"/>
                  </a:moveTo>
                  <a:cubicBezTo>
                    <a:pt x="33" y="54"/>
                    <a:pt x="33" y="54"/>
                    <a:pt x="33" y="54"/>
                  </a:cubicBezTo>
                  <a:cubicBezTo>
                    <a:pt x="30" y="53"/>
                    <a:pt x="28" y="51"/>
                    <a:pt x="28" y="4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1"/>
                    <a:pt x="0" y="8"/>
                    <a:pt x="1" y="5"/>
                  </a:cubicBezTo>
                  <a:cubicBezTo>
                    <a:pt x="2" y="2"/>
                    <a:pt x="5" y="0"/>
                    <a:pt x="7" y="1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5" y="9"/>
                    <a:pt x="47" y="12"/>
                    <a:pt x="47" y="15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8" y="52"/>
                    <a:pt x="36" y="54"/>
                    <a:pt x="34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8" name="Freeform 1528">
              <a:extLst>
                <a:ext uri="{FF2B5EF4-FFF2-40B4-BE49-F238E27FC236}">
                  <a16:creationId xmlns:a16="http://schemas.microsoft.com/office/drawing/2014/main" id="{6D3D636B-B2A5-F4E2-3886-7E38A31E9C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87529" y="1926602"/>
              <a:ext cx="176212" cy="115888"/>
            </a:xfrm>
            <a:custGeom>
              <a:avLst/>
              <a:gdLst>
                <a:gd name="T0" fmla="*/ 7 w 169"/>
                <a:gd name="T1" fmla="*/ 112 h 112"/>
                <a:gd name="T2" fmla="*/ 2 w 169"/>
                <a:gd name="T3" fmla="*/ 110 h 112"/>
                <a:gd name="T4" fmla="*/ 4 w 169"/>
                <a:gd name="T5" fmla="*/ 102 h 112"/>
                <a:gd name="T6" fmla="*/ 160 w 169"/>
                <a:gd name="T7" fmla="*/ 1 h 112"/>
                <a:gd name="T8" fmla="*/ 168 w 169"/>
                <a:gd name="T9" fmla="*/ 3 h 112"/>
                <a:gd name="T10" fmla="*/ 166 w 169"/>
                <a:gd name="T11" fmla="*/ 10 h 112"/>
                <a:gd name="T12" fmla="*/ 10 w 169"/>
                <a:gd name="T13" fmla="*/ 112 h 112"/>
                <a:gd name="T14" fmla="*/ 7 w 169"/>
                <a:gd name="T15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9" h="112">
                  <a:moveTo>
                    <a:pt x="7" y="112"/>
                  </a:moveTo>
                  <a:cubicBezTo>
                    <a:pt x="5" y="112"/>
                    <a:pt x="3" y="112"/>
                    <a:pt x="2" y="110"/>
                  </a:cubicBezTo>
                  <a:cubicBezTo>
                    <a:pt x="0" y="107"/>
                    <a:pt x="1" y="104"/>
                    <a:pt x="4" y="102"/>
                  </a:cubicBezTo>
                  <a:cubicBezTo>
                    <a:pt x="160" y="1"/>
                    <a:pt x="160" y="1"/>
                    <a:pt x="160" y="1"/>
                  </a:cubicBezTo>
                  <a:cubicBezTo>
                    <a:pt x="163" y="0"/>
                    <a:pt x="166" y="0"/>
                    <a:pt x="168" y="3"/>
                  </a:cubicBezTo>
                  <a:cubicBezTo>
                    <a:pt x="169" y="5"/>
                    <a:pt x="169" y="9"/>
                    <a:pt x="166" y="10"/>
                  </a:cubicBezTo>
                  <a:cubicBezTo>
                    <a:pt x="10" y="112"/>
                    <a:pt x="10" y="112"/>
                    <a:pt x="10" y="112"/>
                  </a:cubicBezTo>
                  <a:cubicBezTo>
                    <a:pt x="9" y="112"/>
                    <a:pt x="8" y="112"/>
                    <a:pt x="7" y="1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9" name="Freeform 1529">
              <a:extLst>
                <a:ext uri="{FF2B5EF4-FFF2-40B4-BE49-F238E27FC236}">
                  <a16:creationId xmlns:a16="http://schemas.microsoft.com/office/drawing/2014/main" id="{210BFF95-A656-4A4F-8960-58B211533A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85939" y="2066302"/>
              <a:ext cx="50800" cy="50800"/>
            </a:xfrm>
            <a:custGeom>
              <a:avLst/>
              <a:gdLst>
                <a:gd name="T0" fmla="*/ 45 w 50"/>
                <a:gd name="T1" fmla="*/ 49 h 49"/>
                <a:gd name="T2" fmla="*/ 5 w 50"/>
                <a:gd name="T3" fmla="*/ 49 h 49"/>
                <a:gd name="T4" fmla="*/ 0 w 50"/>
                <a:gd name="T5" fmla="*/ 43 h 49"/>
                <a:gd name="T6" fmla="*/ 0 w 50"/>
                <a:gd name="T7" fmla="*/ 5 h 49"/>
                <a:gd name="T8" fmla="*/ 5 w 50"/>
                <a:gd name="T9" fmla="*/ 0 h 49"/>
                <a:gd name="T10" fmla="*/ 45 w 50"/>
                <a:gd name="T11" fmla="*/ 0 h 49"/>
                <a:gd name="T12" fmla="*/ 50 w 50"/>
                <a:gd name="T13" fmla="*/ 5 h 49"/>
                <a:gd name="T14" fmla="*/ 50 w 50"/>
                <a:gd name="T15" fmla="*/ 43 h 49"/>
                <a:gd name="T16" fmla="*/ 45 w 50"/>
                <a:gd name="T17" fmla="*/ 49 h 49"/>
                <a:gd name="T18" fmla="*/ 11 w 50"/>
                <a:gd name="T19" fmla="*/ 38 h 49"/>
                <a:gd name="T20" fmla="*/ 39 w 50"/>
                <a:gd name="T21" fmla="*/ 38 h 49"/>
                <a:gd name="T22" fmla="*/ 39 w 50"/>
                <a:gd name="T23" fmla="*/ 11 h 49"/>
                <a:gd name="T24" fmla="*/ 11 w 50"/>
                <a:gd name="T25" fmla="*/ 11 h 49"/>
                <a:gd name="T26" fmla="*/ 11 w 50"/>
                <a:gd name="T27" fmla="*/ 3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49">
                  <a:moveTo>
                    <a:pt x="45" y="49"/>
                  </a:moveTo>
                  <a:cubicBezTo>
                    <a:pt x="5" y="49"/>
                    <a:pt x="5" y="49"/>
                    <a:pt x="5" y="49"/>
                  </a:cubicBezTo>
                  <a:cubicBezTo>
                    <a:pt x="2" y="49"/>
                    <a:pt x="0" y="46"/>
                    <a:pt x="0" y="4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8" y="0"/>
                    <a:pt x="50" y="2"/>
                    <a:pt x="50" y="5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50" y="46"/>
                    <a:pt x="48" y="49"/>
                    <a:pt x="45" y="49"/>
                  </a:cubicBezTo>
                  <a:close/>
                  <a:moveTo>
                    <a:pt x="11" y="38"/>
                  </a:moveTo>
                  <a:cubicBezTo>
                    <a:pt x="39" y="38"/>
                    <a:pt x="39" y="38"/>
                    <a:pt x="39" y="38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0" name="Freeform 1530">
              <a:extLst>
                <a:ext uri="{FF2B5EF4-FFF2-40B4-BE49-F238E27FC236}">
                  <a16:creationId xmlns:a16="http://schemas.microsoft.com/office/drawing/2014/main" id="{2AC1F4A0-C22C-D517-9D8D-3AF85CECFD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22445" y="2032965"/>
              <a:ext cx="52388" cy="84138"/>
            </a:xfrm>
            <a:custGeom>
              <a:avLst/>
              <a:gdLst>
                <a:gd name="T0" fmla="*/ 45 w 50"/>
                <a:gd name="T1" fmla="*/ 82 h 82"/>
                <a:gd name="T2" fmla="*/ 5 w 50"/>
                <a:gd name="T3" fmla="*/ 82 h 82"/>
                <a:gd name="T4" fmla="*/ 0 w 50"/>
                <a:gd name="T5" fmla="*/ 76 h 82"/>
                <a:gd name="T6" fmla="*/ 0 w 50"/>
                <a:gd name="T7" fmla="*/ 5 h 82"/>
                <a:gd name="T8" fmla="*/ 5 w 50"/>
                <a:gd name="T9" fmla="*/ 0 h 82"/>
                <a:gd name="T10" fmla="*/ 45 w 50"/>
                <a:gd name="T11" fmla="*/ 0 h 82"/>
                <a:gd name="T12" fmla="*/ 50 w 50"/>
                <a:gd name="T13" fmla="*/ 5 h 82"/>
                <a:gd name="T14" fmla="*/ 50 w 50"/>
                <a:gd name="T15" fmla="*/ 76 h 82"/>
                <a:gd name="T16" fmla="*/ 45 w 50"/>
                <a:gd name="T17" fmla="*/ 82 h 82"/>
                <a:gd name="T18" fmla="*/ 10 w 50"/>
                <a:gd name="T19" fmla="*/ 71 h 82"/>
                <a:gd name="T20" fmla="*/ 39 w 50"/>
                <a:gd name="T21" fmla="*/ 71 h 82"/>
                <a:gd name="T22" fmla="*/ 39 w 50"/>
                <a:gd name="T23" fmla="*/ 10 h 82"/>
                <a:gd name="T24" fmla="*/ 10 w 50"/>
                <a:gd name="T25" fmla="*/ 10 h 82"/>
                <a:gd name="T26" fmla="*/ 10 w 50"/>
                <a:gd name="T27" fmla="*/ 7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82">
                  <a:moveTo>
                    <a:pt x="45" y="82"/>
                  </a:moveTo>
                  <a:cubicBezTo>
                    <a:pt x="5" y="82"/>
                    <a:pt x="5" y="82"/>
                    <a:pt x="5" y="82"/>
                  </a:cubicBezTo>
                  <a:cubicBezTo>
                    <a:pt x="2" y="82"/>
                    <a:pt x="0" y="79"/>
                    <a:pt x="0" y="7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8" y="0"/>
                    <a:pt x="50" y="2"/>
                    <a:pt x="50" y="5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50" y="79"/>
                    <a:pt x="48" y="82"/>
                    <a:pt x="45" y="82"/>
                  </a:cubicBezTo>
                  <a:close/>
                  <a:moveTo>
                    <a:pt x="10" y="71"/>
                  </a:moveTo>
                  <a:cubicBezTo>
                    <a:pt x="39" y="71"/>
                    <a:pt x="39" y="71"/>
                    <a:pt x="39" y="71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10" y="7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1" name="Freeform 1531">
              <a:extLst>
                <a:ext uri="{FF2B5EF4-FFF2-40B4-BE49-F238E27FC236}">
                  <a16:creationId xmlns:a16="http://schemas.microsoft.com/office/drawing/2014/main" id="{B2AB56A5-D726-8936-B043-C26DCA1226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58950" y="1991693"/>
              <a:ext cx="53975" cy="125413"/>
            </a:xfrm>
            <a:custGeom>
              <a:avLst/>
              <a:gdLst>
                <a:gd name="T0" fmla="*/ 45 w 51"/>
                <a:gd name="T1" fmla="*/ 121 h 121"/>
                <a:gd name="T2" fmla="*/ 6 w 51"/>
                <a:gd name="T3" fmla="*/ 121 h 121"/>
                <a:gd name="T4" fmla="*/ 0 w 51"/>
                <a:gd name="T5" fmla="*/ 115 h 121"/>
                <a:gd name="T6" fmla="*/ 0 w 51"/>
                <a:gd name="T7" fmla="*/ 6 h 121"/>
                <a:gd name="T8" fmla="*/ 6 w 51"/>
                <a:gd name="T9" fmla="*/ 0 h 121"/>
                <a:gd name="T10" fmla="*/ 45 w 51"/>
                <a:gd name="T11" fmla="*/ 0 h 121"/>
                <a:gd name="T12" fmla="*/ 51 w 51"/>
                <a:gd name="T13" fmla="*/ 6 h 121"/>
                <a:gd name="T14" fmla="*/ 51 w 51"/>
                <a:gd name="T15" fmla="*/ 115 h 121"/>
                <a:gd name="T16" fmla="*/ 45 w 51"/>
                <a:gd name="T17" fmla="*/ 121 h 121"/>
                <a:gd name="T18" fmla="*/ 11 w 51"/>
                <a:gd name="T19" fmla="*/ 110 h 121"/>
                <a:gd name="T20" fmla="*/ 40 w 51"/>
                <a:gd name="T21" fmla="*/ 110 h 121"/>
                <a:gd name="T22" fmla="*/ 40 w 51"/>
                <a:gd name="T23" fmla="*/ 11 h 121"/>
                <a:gd name="T24" fmla="*/ 11 w 51"/>
                <a:gd name="T25" fmla="*/ 11 h 121"/>
                <a:gd name="T26" fmla="*/ 11 w 51"/>
                <a:gd name="T27" fmla="*/ 11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121">
                  <a:moveTo>
                    <a:pt x="45" y="121"/>
                  </a:moveTo>
                  <a:cubicBezTo>
                    <a:pt x="6" y="121"/>
                    <a:pt x="6" y="121"/>
                    <a:pt x="6" y="121"/>
                  </a:cubicBezTo>
                  <a:cubicBezTo>
                    <a:pt x="3" y="121"/>
                    <a:pt x="0" y="118"/>
                    <a:pt x="0" y="11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9" y="0"/>
                    <a:pt x="51" y="3"/>
                    <a:pt x="51" y="6"/>
                  </a:cubicBezTo>
                  <a:cubicBezTo>
                    <a:pt x="51" y="115"/>
                    <a:pt x="51" y="115"/>
                    <a:pt x="51" y="115"/>
                  </a:cubicBezTo>
                  <a:cubicBezTo>
                    <a:pt x="51" y="118"/>
                    <a:pt x="49" y="121"/>
                    <a:pt x="45" y="121"/>
                  </a:cubicBezTo>
                  <a:close/>
                  <a:moveTo>
                    <a:pt x="11" y="110"/>
                  </a:moveTo>
                  <a:cubicBezTo>
                    <a:pt x="40" y="110"/>
                    <a:pt x="40" y="110"/>
                    <a:pt x="40" y="110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1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62" name="Shape66_20200717_142846">
            <a:extLst>
              <a:ext uri="{FF2B5EF4-FFF2-40B4-BE49-F238E27FC236}">
                <a16:creationId xmlns:a16="http://schemas.microsoft.com/office/drawing/2014/main" id="{FBCBA8B0-5FC5-D818-7771-6318C2B0CF44}"/>
              </a:ext>
            </a:extLst>
          </p:cNvPr>
          <p:cNvGrpSpPr>
            <a:grpSpLocks noChangeAspect="1"/>
          </p:cNvGrpSpPr>
          <p:nvPr/>
        </p:nvGrpSpPr>
        <p:grpSpPr>
          <a:xfrm>
            <a:off x="623094" y="5223118"/>
            <a:ext cx="501359" cy="434189"/>
            <a:chOff x="-568320" y="2182771"/>
            <a:chExt cx="331785" cy="287332"/>
          </a:xfrm>
          <a:solidFill>
            <a:schemeClr val="accent1"/>
          </a:solidFill>
        </p:grpSpPr>
        <p:sp>
          <p:nvSpPr>
            <p:cNvPr id="163" name="Freeform 462">
              <a:extLst>
                <a:ext uri="{FF2B5EF4-FFF2-40B4-BE49-F238E27FC236}">
                  <a16:creationId xmlns:a16="http://schemas.microsoft.com/office/drawing/2014/main" id="{31BFE4B7-24D9-0969-696D-0EDA403A8C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8319" y="2182771"/>
              <a:ext cx="331784" cy="287332"/>
            </a:xfrm>
            <a:custGeom>
              <a:avLst/>
              <a:gdLst>
                <a:gd name="T0" fmla="*/ 129 w 147"/>
                <a:gd name="T1" fmla="*/ 127 h 127"/>
                <a:gd name="T2" fmla="*/ 17 w 147"/>
                <a:gd name="T3" fmla="*/ 127 h 127"/>
                <a:gd name="T4" fmla="*/ 0 w 147"/>
                <a:gd name="T5" fmla="*/ 110 h 127"/>
                <a:gd name="T6" fmla="*/ 0 w 147"/>
                <a:gd name="T7" fmla="*/ 17 h 127"/>
                <a:gd name="T8" fmla="*/ 17 w 147"/>
                <a:gd name="T9" fmla="*/ 0 h 127"/>
                <a:gd name="T10" fmla="*/ 129 w 147"/>
                <a:gd name="T11" fmla="*/ 0 h 127"/>
                <a:gd name="T12" fmla="*/ 147 w 147"/>
                <a:gd name="T13" fmla="*/ 17 h 127"/>
                <a:gd name="T14" fmla="*/ 147 w 147"/>
                <a:gd name="T15" fmla="*/ 110 h 127"/>
                <a:gd name="T16" fmla="*/ 129 w 147"/>
                <a:gd name="T17" fmla="*/ 127 h 127"/>
                <a:gd name="T18" fmla="*/ 17 w 147"/>
                <a:gd name="T19" fmla="*/ 5 h 127"/>
                <a:gd name="T20" fmla="*/ 5 w 147"/>
                <a:gd name="T21" fmla="*/ 17 h 127"/>
                <a:gd name="T22" fmla="*/ 5 w 147"/>
                <a:gd name="T23" fmla="*/ 110 h 127"/>
                <a:gd name="T24" fmla="*/ 17 w 147"/>
                <a:gd name="T25" fmla="*/ 122 h 127"/>
                <a:gd name="T26" fmla="*/ 129 w 147"/>
                <a:gd name="T27" fmla="*/ 122 h 127"/>
                <a:gd name="T28" fmla="*/ 142 w 147"/>
                <a:gd name="T29" fmla="*/ 110 h 127"/>
                <a:gd name="T30" fmla="*/ 142 w 147"/>
                <a:gd name="T31" fmla="*/ 17 h 127"/>
                <a:gd name="T32" fmla="*/ 129 w 147"/>
                <a:gd name="T33" fmla="*/ 5 h 127"/>
                <a:gd name="T34" fmla="*/ 17 w 147"/>
                <a:gd name="T35" fmla="*/ 5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7" h="127">
                  <a:moveTo>
                    <a:pt x="129" y="127"/>
                  </a:moveTo>
                  <a:cubicBezTo>
                    <a:pt x="17" y="127"/>
                    <a:pt x="17" y="127"/>
                    <a:pt x="17" y="127"/>
                  </a:cubicBezTo>
                  <a:cubicBezTo>
                    <a:pt x="7" y="127"/>
                    <a:pt x="0" y="119"/>
                    <a:pt x="0" y="11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0"/>
                    <a:pt x="1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39" y="0"/>
                    <a:pt x="147" y="8"/>
                    <a:pt x="147" y="17"/>
                  </a:cubicBezTo>
                  <a:cubicBezTo>
                    <a:pt x="147" y="110"/>
                    <a:pt x="147" y="110"/>
                    <a:pt x="147" y="110"/>
                  </a:cubicBezTo>
                  <a:cubicBezTo>
                    <a:pt x="147" y="119"/>
                    <a:pt x="139" y="127"/>
                    <a:pt x="129" y="127"/>
                  </a:cubicBezTo>
                  <a:close/>
                  <a:moveTo>
                    <a:pt x="17" y="5"/>
                  </a:moveTo>
                  <a:cubicBezTo>
                    <a:pt x="10" y="5"/>
                    <a:pt x="5" y="11"/>
                    <a:pt x="5" y="17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5" y="116"/>
                    <a:pt x="10" y="122"/>
                    <a:pt x="17" y="122"/>
                  </a:cubicBezTo>
                  <a:cubicBezTo>
                    <a:pt x="129" y="122"/>
                    <a:pt x="129" y="122"/>
                    <a:pt x="129" y="122"/>
                  </a:cubicBezTo>
                  <a:cubicBezTo>
                    <a:pt x="136" y="122"/>
                    <a:pt x="142" y="116"/>
                    <a:pt x="142" y="110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2" y="11"/>
                    <a:pt x="136" y="5"/>
                    <a:pt x="129" y="5"/>
                  </a:cubicBezTo>
                  <a:lnTo>
                    <a:pt x="17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4" name="Freeform 463">
              <a:extLst>
                <a:ext uri="{FF2B5EF4-FFF2-40B4-BE49-F238E27FC236}">
                  <a16:creationId xmlns:a16="http://schemas.microsoft.com/office/drawing/2014/main" id="{B35E8EC0-3238-E095-3AD7-E7E5829F4B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8771" y="2284369"/>
              <a:ext cx="122236" cy="84136"/>
            </a:xfrm>
            <a:custGeom>
              <a:avLst/>
              <a:gdLst>
                <a:gd name="T0" fmla="*/ 51 w 54"/>
                <a:gd name="T1" fmla="*/ 37 h 37"/>
                <a:gd name="T2" fmla="*/ 18 w 54"/>
                <a:gd name="T3" fmla="*/ 37 h 37"/>
                <a:gd name="T4" fmla="*/ 0 w 54"/>
                <a:gd name="T5" fmla="*/ 19 h 37"/>
                <a:gd name="T6" fmla="*/ 0 w 54"/>
                <a:gd name="T7" fmla="*/ 18 h 37"/>
                <a:gd name="T8" fmla="*/ 18 w 54"/>
                <a:gd name="T9" fmla="*/ 0 h 37"/>
                <a:gd name="T10" fmla="*/ 51 w 54"/>
                <a:gd name="T11" fmla="*/ 0 h 37"/>
                <a:gd name="T12" fmla="*/ 54 w 54"/>
                <a:gd name="T13" fmla="*/ 2 h 37"/>
                <a:gd name="T14" fmla="*/ 54 w 54"/>
                <a:gd name="T15" fmla="*/ 35 h 37"/>
                <a:gd name="T16" fmla="*/ 51 w 54"/>
                <a:gd name="T17" fmla="*/ 37 h 37"/>
                <a:gd name="T18" fmla="*/ 18 w 54"/>
                <a:gd name="T19" fmla="*/ 5 h 37"/>
                <a:gd name="T20" fmla="*/ 5 w 54"/>
                <a:gd name="T21" fmla="*/ 18 h 37"/>
                <a:gd name="T22" fmla="*/ 5 w 54"/>
                <a:gd name="T23" fmla="*/ 19 h 37"/>
                <a:gd name="T24" fmla="*/ 18 w 54"/>
                <a:gd name="T25" fmla="*/ 32 h 37"/>
                <a:gd name="T26" fmla="*/ 49 w 54"/>
                <a:gd name="T27" fmla="*/ 32 h 37"/>
                <a:gd name="T28" fmla="*/ 49 w 54"/>
                <a:gd name="T29" fmla="*/ 5 h 37"/>
                <a:gd name="T30" fmla="*/ 18 w 54"/>
                <a:gd name="T31" fmla="*/ 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4" h="37">
                  <a:moveTo>
                    <a:pt x="51" y="37"/>
                  </a:moveTo>
                  <a:cubicBezTo>
                    <a:pt x="18" y="37"/>
                    <a:pt x="18" y="37"/>
                    <a:pt x="18" y="37"/>
                  </a:cubicBezTo>
                  <a:cubicBezTo>
                    <a:pt x="8" y="37"/>
                    <a:pt x="0" y="29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3" y="0"/>
                    <a:pt x="54" y="1"/>
                    <a:pt x="54" y="2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4" y="36"/>
                    <a:pt x="53" y="37"/>
                    <a:pt x="51" y="37"/>
                  </a:cubicBezTo>
                  <a:close/>
                  <a:moveTo>
                    <a:pt x="18" y="5"/>
                  </a:moveTo>
                  <a:cubicBezTo>
                    <a:pt x="10" y="5"/>
                    <a:pt x="5" y="11"/>
                    <a:pt x="5" y="18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6"/>
                    <a:pt x="10" y="32"/>
                    <a:pt x="18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5"/>
                    <a:pt x="49" y="5"/>
                    <a:pt x="49" y="5"/>
                  </a:cubicBezTo>
                  <a:lnTo>
                    <a:pt x="18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5" name="Freeform 464">
              <a:extLst>
                <a:ext uri="{FF2B5EF4-FFF2-40B4-BE49-F238E27FC236}">
                  <a16:creationId xmlns:a16="http://schemas.microsoft.com/office/drawing/2014/main" id="{972611A9-52E2-AB19-CEC5-002C4A94D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6547" y="2308181"/>
              <a:ext cx="41275" cy="38099"/>
            </a:xfrm>
            <a:custGeom>
              <a:avLst/>
              <a:gdLst>
                <a:gd name="T0" fmla="*/ 9 w 18"/>
                <a:gd name="T1" fmla="*/ 17 h 17"/>
                <a:gd name="T2" fmla="*/ 0 w 18"/>
                <a:gd name="T3" fmla="*/ 9 h 17"/>
                <a:gd name="T4" fmla="*/ 9 w 18"/>
                <a:gd name="T5" fmla="*/ 0 h 17"/>
                <a:gd name="T6" fmla="*/ 18 w 18"/>
                <a:gd name="T7" fmla="*/ 9 h 17"/>
                <a:gd name="T8" fmla="*/ 9 w 18"/>
                <a:gd name="T9" fmla="*/ 17 h 17"/>
                <a:gd name="T10" fmla="*/ 9 w 18"/>
                <a:gd name="T11" fmla="*/ 5 h 17"/>
                <a:gd name="T12" fmla="*/ 5 w 18"/>
                <a:gd name="T13" fmla="*/ 9 h 17"/>
                <a:gd name="T14" fmla="*/ 9 w 18"/>
                <a:gd name="T15" fmla="*/ 13 h 17"/>
                <a:gd name="T16" fmla="*/ 13 w 18"/>
                <a:gd name="T17" fmla="*/ 9 h 17"/>
                <a:gd name="T18" fmla="*/ 9 w 18"/>
                <a:gd name="T19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7">
                  <a:moveTo>
                    <a:pt x="9" y="17"/>
                  </a:moveTo>
                  <a:cubicBezTo>
                    <a:pt x="4" y="17"/>
                    <a:pt x="0" y="13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3"/>
                    <a:pt x="14" y="17"/>
                    <a:pt x="9" y="17"/>
                  </a:cubicBezTo>
                  <a:close/>
                  <a:moveTo>
                    <a:pt x="9" y="5"/>
                  </a:moveTo>
                  <a:cubicBezTo>
                    <a:pt x="7" y="5"/>
                    <a:pt x="5" y="6"/>
                    <a:pt x="5" y="9"/>
                  </a:cubicBezTo>
                  <a:cubicBezTo>
                    <a:pt x="5" y="11"/>
                    <a:pt x="7" y="13"/>
                    <a:pt x="9" y="13"/>
                  </a:cubicBezTo>
                  <a:cubicBezTo>
                    <a:pt x="12" y="13"/>
                    <a:pt x="13" y="11"/>
                    <a:pt x="13" y="9"/>
                  </a:cubicBezTo>
                  <a:cubicBezTo>
                    <a:pt x="13" y="6"/>
                    <a:pt x="12" y="5"/>
                    <a:pt x="9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6" name="Freeform 465">
              <a:extLst>
                <a:ext uri="{FF2B5EF4-FFF2-40B4-BE49-F238E27FC236}">
                  <a16:creationId xmlns:a16="http://schemas.microsoft.com/office/drawing/2014/main" id="{FE4223D1-B3CE-9282-EAB6-A7B0E4321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8319" y="2214524"/>
              <a:ext cx="20638" cy="11113"/>
            </a:xfrm>
            <a:custGeom>
              <a:avLst/>
              <a:gdLst>
                <a:gd name="T0" fmla="*/ 6 w 9"/>
                <a:gd name="T1" fmla="*/ 5 h 5"/>
                <a:gd name="T2" fmla="*/ 2 w 9"/>
                <a:gd name="T3" fmla="*/ 5 h 5"/>
                <a:gd name="T4" fmla="*/ 0 w 9"/>
                <a:gd name="T5" fmla="*/ 3 h 5"/>
                <a:gd name="T6" fmla="*/ 2 w 9"/>
                <a:gd name="T7" fmla="*/ 0 h 5"/>
                <a:gd name="T8" fmla="*/ 6 w 9"/>
                <a:gd name="T9" fmla="*/ 0 h 5"/>
                <a:gd name="T10" fmla="*/ 9 w 9"/>
                <a:gd name="T11" fmla="*/ 3 h 5"/>
                <a:gd name="T12" fmla="*/ 6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0"/>
                    <a:pt x="9" y="1"/>
                    <a:pt x="9" y="3"/>
                  </a:cubicBezTo>
                  <a:cubicBezTo>
                    <a:pt x="9" y="4"/>
                    <a:pt x="8" y="5"/>
                    <a:pt x="6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7" name="Freeform 466">
              <a:extLst>
                <a:ext uri="{FF2B5EF4-FFF2-40B4-BE49-F238E27FC236}">
                  <a16:creationId xmlns:a16="http://schemas.microsoft.com/office/drawing/2014/main" id="{9E92F6E5-09C9-68BF-666B-95BA2E2505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3870" y="2214527"/>
              <a:ext cx="241297" cy="11113"/>
            </a:xfrm>
            <a:custGeom>
              <a:avLst/>
              <a:gdLst>
                <a:gd name="T0" fmla="*/ 104 w 107"/>
                <a:gd name="T1" fmla="*/ 5 h 5"/>
                <a:gd name="T2" fmla="*/ 97 w 107"/>
                <a:gd name="T3" fmla="*/ 5 h 5"/>
                <a:gd name="T4" fmla="*/ 94 w 107"/>
                <a:gd name="T5" fmla="*/ 3 h 5"/>
                <a:gd name="T6" fmla="*/ 97 w 107"/>
                <a:gd name="T7" fmla="*/ 0 h 5"/>
                <a:gd name="T8" fmla="*/ 104 w 107"/>
                <a:gd name="T9" fmla="*/ 0 h 5"/>
                <a:gd name="T10" fmla="*/ 107 w 107"/>
                <a:gd name="T11" fmla="*/ 3 h 5"/>
                <a:gd name="T12" fmla="*/ 104 w 107"/>
                <a:gd name="T13" fmla="*/ 5 h 5"/>
                <a:gd name="T14" fmla="*/ 81 w 107"/>
                <a:gd name="T15" fmla="*/ 5 h 5"/>
                <a:gd name="T16" fmla="*/ 73 w 107"/>
                <a:gd name="T17" fmla="*/ 5 h 5"/>
                <a:gd name="T18" fmla="*/ 70 w 107"/>
                <a:gd name="T19" fmla="*/ 3 h 5"/>
                <a:gd name="T20" fmla="*/ 73 w 107"/>
                <a:gd name="T21" fmla="*/ 0 h 5"/>
                <a:gd name="T22" fmla="*/ 81 w 107"/>
                <a:gd name="T23" fmla="*/ 0 h 5"/>
                <a:gd name="T24" fmla="*/ 83 w 107"/>
                <a:gd name="T25" fmla="*/ 3 h 5"/>
                <a:gd name="T26" fmla="*/ 81 w 107"/>
                <a:gd name="T27" fmla="*/ 5 h 5"/>
                <a:gd name="T28" fmla="*/ 57 w 107"/>
                <a:gd name="T29" fmla="*/ 5 h 5"/>
                <a:gd name="T30" fmla="*/ 49 w 107"/>
                <a:gd name="T31" fmla="*/ 5 h 5"/>
                <a:gd name="T32" fmla="*/ 47 w 107"/>
                <a:gd name="T33" fmla="*/ 3 h 5"/>
                <a:gd name="T34" fmla="*/ 49 w 107"/>
                <a:gd name="T35" fmla="*/ 0 h 5"/>
                <a:gd name="T36" fmla="*/ 57 w 107"/>
                <a:gd name="T37" fmla="*/ 0 h 5"/>
                <a:gd name="T38" fmla="*/ 60 w 107"/>
                <a:gd name="T39" fmla="*/ 3 h 5"/>
                <a:gd name="T40" fmla="*/ 57 w 107"/>
                <a:gd name="T41" fmla="*/ 5 h 5"/>
                <a:gd name="T42" fmla="*/ 34 w 107"/>
                <a:gd name="T43" fmla="*/ 5 h 5"/>
                <a:gd name="T44" fmla="*/ 26 w 107"/>
                <a:gd name="T45" fmla="*/ 5 h 5"/>
                <a:gd name="T46" fmla="*/ 23 w 107"/>
                <a:gd name="T47" fmla="*/ 3 h 5"/>
                <a:gd name="T48" fmla="*/ 26 w 107"/>
                <a:gd name="T49" fmla="*/ 0 h 5"/>
                <a:gd name="T50" fmla="*/ 34 w 107"/>
                <a:gd name="T51" fmla="*/ 0 h 5"/>
                <a:gd name="T52" fmla="*/ 36 w 107"/>
                <a:gd name="T53" fmla="*/ 3 h 5"/>
                <a:gd name="T54" fmla="*/ 34 w 107"/>
                <a:gd name="T55" fmla="*/ 5 h 5"/>
                <a:gd name="T56" fmla="*/ 10 w 107"/>
                <a:gd name="T57" fmla="*/ 5 h 5"/>
                <a:gd name="T58" fmla="*/ 2 w 107"/>
                <a:gd name="T59" fmla="*/ 5 h 5"/>
                <a:gd name="T60" fmla="*/ 0 w 107"/>
                <a:gd name="T61" fmla="*/ 3 h 5"/>
                <a:gd name="T62" fmla="*/ 2 w 107"/>
                <a:gd name="T63" fmla="*/ 0 h 5"/>
                <a:gd name="T64" fmla="*/ 10 w 107"/>
                <a:gd name="T65" fmla="*/ 0 h 5"/>
                <a:gd name="T66" fmla="*/ 12 w 107"/>
                <a:gd name="T67" fmla="*/ 3 h 5"/>
                <a:gd name="T68" fmla="*/ 10 w 107"/>
                <a:gd name="T6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" h="5">
                  <a:moveTo>
                    <a:pt x="104" y="5"/>
                  </a:moveTo>
                  <a:cubicBezTo>
                    <a:pt x="97" y="5"/>
                    <a:pt x="97" y="5"/>
                    <a:pt x="97" y="5"/>
                  </a:cubicBezTo>
                  <a:cubicBezTo>
                    <a:pt x="95" y="5"/>
                    <a:pt x="94" y="4"/>
                    <a:pt x="94" y="3"/>
                  </a:cubicBezTo>
                  <a:cubicBezTo>
                    <a:pt x="94" y="1"/>
                    <a:pt x="95" y="0"/>
                    <a:pt x="97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6" y="0"/>
                    <a:pt x="107" y="1"/>
                    <a:pt x="107" y="3"/>
                  </a:cubicBezTo>
                  <a:cubicBezTo>
                    <a:pt x="107" y="4"/>
                    <a:pt x="106" y="5"/>
                    <a:pt x="104" y="5"/>
                  </a:cubicBezTo>
                  <a:close/>
                  <a:moveTo>
                    <a:pt x="81" y="5"/>
                  </a:moveTo>
                  <a:cubicBezTo>
                    <a:pt x="73" y="5"/>
                    <a:pt x="73" y="5"/>
                    <a:pt x="73" y="5"/>
                  </a:cubicBezTo>
                  <a:cubicBezTo>
                    <a:pt x="72" y="5"/>
                    <a:pt x="70" y="4"/>
                    <a:pt x="70" y="3"/>
                  </a:cubicBezTo>
                  <a:cubicBezTo>
                    <a:pt x="70" y="1"/>
                    <a:pt x="72" y="0"/>
                    <a:pt x="73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2" y="0"/>
                    <a:pt x="83" y="1"/>
                    <a:pt x="83" y="3"/>
                  </a:cubicBezTo>
                  <a:cubicBezTo>
                    <a:pt x="83" y="4"/>
                    <a:pt x="82" y="5"/>
                    <a:pt x="81" y="5"/>
                  </a:cubicBezTo>
                  <a:close/>
                  <a:moveTo>
                    <a:pt x="57" y="5"/>
                  </a:moveTo>
                  <a:cubicBezTo>
                    <a:pt x="49" y="5"/>
                    <a:pt x="49" y="5"/>
                    <a:pt x="49" y="5"/>
                  </a:cubicBezTo>
                  <a:cubicBezTo>
                    <a:pt x="48" y="5"/>
                    <a:pt x="47" y="4"/>
                    <a:pt x="47" y="3"/>
                  </a:cubicBezTo>
                  <a:cubicBezTo>
                    <a:pt x="47" y="1"/>
                    <a:pt x="48" y="0"/>
                    <a:pt x="49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0" y="1"/>
                    <a:pt x="60" y="3"/>
                  </a:cubicBezTo>
                  <a:cubicBezTo>
                    <a:pt x="60" y="4"/>
                    <a:pt x="59" y="5"/>
                    <a:pt x="57" y="5"/>
                  </a:cubicBezTo>
                  <a:close/>
                  <a:moveTo>
                    <a:pt x="34" y="5"/>
                  </a:moveTo>
                  <a:cubicBezTo>
                    <a:pt x="26" y="5"/>
                    <a:pt x="26" y="5"/>
                    <a:pt x="26" y="5"/>
                  </a:cubicBezTo>
                  <a:cubicBezTo>
                    <a:pt x="24" y="5"/>
                    <a:pt x="23" y="4"/>
                    <a:pt x="23" y="3"/>
                  </a:cubicBezTo>
                  <a:cubicBezTo>
                    <a:pt x="23" y="1"/>
                    <a:pt x="24" y="0"/>
                    <a:pt x="26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5" y="0"/>
                    <a:pt x="36" y="1"/>
                    <a:pt x="36" y="3"/>
                  </a:cubicBezTo>
                  <a:cubicBezTo>
                    <a:pt x="36" y="4"/>
                    <a:pt x="35" y="5"/>
                    <a:pt x="34" y="5"/>
                  </a:cubicBezTo>
                  <a:close/>
                  <a:moveTo>
                    <a:pt x="10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3"/>
                  </a:cubicBezTo>
                  <a:cubicBezTo>
                    <a:pt x="12" y="4"/>
                    <a:pt x="11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8" name="Freeform 467">
              <a:extLst>
                <a:ext uri="{FF2B5EF4-FFF2-40B4-BE49-F238E27FC236}">
                  <a16:creationId xmlns:a16="http://schemas.microsoft.com/office/drawing/2014/main" id="{734E773B-150C-6B54-A0BF-A9F1F4A5C5F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7173" y="2214528"/>
              <a:ext cx="20638" cy="11113"/>
            </a:xfrm>
            <a:custGeom>
              <a:avLst/>
              <a:gdLst>
                <a:gd name="T0" fmla="*/ 6 w 9"/>
                <a:gd name="T1" fmla="*/ 5 h 5"/>
                <a:gd name="T2" fmla="*/ 2 w 9"/>
                <a:gd name="T3" fmla="*/ 5 h 5"/>
                <a:gd name="T4" fmla="*/ 0 w 9"/>
                <a:gd name="T5" fmla="*/ 3 h 5"/>
                <a:gd name="T6" fmla="*/ 2 w 9"/>
                <a:gd name="T7" fmla="*/ 0 h 5"/>
                <a:gd name="T8" fmla="*/ 6 w 9"/>
                <a:gd name="T9" fmla="*/ 0 h 5"/>
                <a:gd name="T10" fmla="*/ 9 w 9"/>
                <a:gd name="T11" fmla="*/ 3 h 5"/>
                <a:gd name="T12" fmla="*/ 6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0"/>
                    <a:pt x="9" y="1"/>
                    <a:pt x="9" y="3"/>
                  </a:cubicBezTo>
                  <a:cubicBezTo>
                    <a:pt x="9" y="4"/>
                    <a:pt x="8" y="5"/>
                    <a:pt x="6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Freeform 468">
              <a:extLst>
                <a:ext uri="{FF2B5EF4-FFF2-40B4-BE49-F238E27FC236}">
                  <a16:creationId xmlns:a16="http://schemas.microsoft.com/office/drawing/2014/main" id="{D8B1BB15-5EBE-60CC-159E-30D578943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8320" y="2427250"/>
              <a:ext cx="20638" cy="11113"/>
            </a:xfrm>
            <a:custGeom>
              <a:avLst/>
              <a:gdLst>
                <a:gd name="T0" fmla="*/ 6 w 9"/>
                <a:gd name="T1" fmla="*/ 5 h 5"/>
                <a:gd name="T2" fmla="*/ 2 w 9"/>
                <a:gd name="T3" fmla="*/ 5 h 5"/>
                <a:gd name="T4" fmla="*/ 0 w 9"/>
                <a:gd name="T5" fmla="*/ 2 h 5"/>
                <a:gd name="T6" fmla="*/ 2 w 9"/>
                <a:gd name="T7" fmla="*/ 0 h 5"/>
                <a:gd name="T8" fmla="*/ 6 w 9"/>
                <a:gd name="T9" fmla="*/ 0 h 5"/>
                <a:gd name="T10" fmla="*/ 9 w 9"/>
                <a:gd name="T11" fmla="*/ 2 h 5"/>
                <a:gd name="T12" fmla="*/ 6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4"/>
                    <a:pt x="8" y="5"/>
                    <a:pt x="6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Freeform 469">
              <a:extLst>
                <a:ext uri="{FF2B5EF4-FFF2-40B4-BE49-F238E27FC236}">
                  <a16:creationId xmlns:a16="http://schemas.microsoft.com/office/drawing/2014/main" id="{1023C38D-D9EA-2544-A0BC-D51924C49F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3870" y="2427231"/>
              <a:ext cx="241297" cy="11113"/>
            </a:xfrm>
            <a:custGeom>
              <a:avLst/>
              <a:gdLst>
                <a:gd name="T0" fmla="*/ 104 w 107"/>
                <a:gd name="T1" fmla="*/ 5 h 5"/>
                <a:gd name="T2" fmla="*/ 97 w 107"/>
                <a:gd name="T3" fmla="*/ 5 h 5"/>
                <a:gd name="T4" fmla="*/ 94 w 107"/>
                <a:gd name="T5" fmla="*/ 2 h 5"/>
                <a:gd name="T6" fmla="*/ 97 w 107"/>
                <a:gd name="T7" fmla="*/ 0 h 5"/>
                <a:gd name="T8" fmla="*/ 104 w 107"/>
                <a:gd name="T9" fmla="*/ 0 h 5"/>
                <a:gd name="T10" fmla="*/ 107 w 107"/>
                <a:gd name="T11" fmla="*/ 2 h 5"/>
                <a:gd name="T12" fmla="*/ 104 w 107"/>
                <a:gd name="T13" fmla="*/ 5 h 5"/>
                <a:gd name="T14" fmla="*/ 81 w 107"/>
                <a:gd name="T15" fmla="*/ 5 h 5"/>
                <a:gd name="T16" fmla="*/ 73 w 107"/>
                <a:gd name="T17" fmla="*/ 5 h 5"/>
                <a:gd name="T18" fmla="*/ 70 w 107"/>
                <a:gd name="T19" fmla="*/ 2 h 5"/>
                <a:gd name="T20" fmla="*/ 73 w 107"/>
                <a:gd name="T21" fmla="*/ 0 h 5"/>
                <a:gd name="T22" fmla="*/ 81 w 107"/>
                <a:gd name="T23" fmla="*/ 0 h 5"/>
                <a:gd name="T24" fmla="*/ 83 w 107"/>
                <a:gd name="T25" fmla="*/ 2 h 5"/>
                <a:gd name="T26" fmla="*/ 81 w 107"/>
                <a:gd name="T27" fmla="*/ 5 h 5"/>
                <a:gd name="T28" fmla="*/ 57 w 107"/>
                <a:gd name="T29" fmla="*/ 5 h 5"/>
                <a:gd name="T30" fmla="*/ 49 w 107"/>
                <a:gd name="T31" fmla="*/ 5 h 5"/>
                <a:gd name="T32" fmla="*/ 47 w 107"/>
                <a:gd name="T33" fmla="*/ 2 h 5"/>
                <a:gd name="T34" fmla="*/ 49 w 107"/>
                <a:gd name="T35" fmla="*/ 0 h 5"/>
                <a:gd name="T36" fmla="*/ 57 w 107"/>
                <a:gd name="T37" fmla="*/ 0 h 5"/>
                <a:gd name="T38" fmla="*/ 60 w 107"/>
                <a:gd name="T39" fmla="*/ 2 h 5"/>
                <a:gd name="T40" fmla="*/ 57 w 107"/>
                <a:gd name="T41" fmla="*/ 5 h 5"/>
                <a:gd name="T42" fmla="*/ 34 w 107"/>
                <a:gd name="T43" fmla="*/ 5 h 5"/>
                <a:gd name="T44" fmla="*/ 26 w 107"/>
                <a:gd name="T45" fmla="*/ 5 h 5"/>
                <a:gd name="T46" fmla="*/ 23 w 107"/>
                <a:gd name="T47" fmla="*/ 2 h 5"/>
                <a:gd name="T48" fmla="*/ 26 w 107"/>
                <a:gd name="T49" fmla="*/ 0 h 5"/>
                <a:gd name="T50" fmla="*/ 34 w 107"/>
                <a:gd name="T51" fmla="*/ 0 h 5"/>
                <a:gd name="T52" fmla="*/ 36 w 107"/>
                <a:gd name="T53" fmla="*/ 2 h 5"/>
                <a:gd name="T54" fmla="*/ 34 w 107"/>
                <a:gd name="T55" fmla="*/ 5 h 5"/>
                <a:gd name="T56" fmla="*/ 10 w 107"/>
                <a:gd name="T57" fmla="*/ 5 h 5"/>
                <a:gd name="T58" fmla="*/ 2 w 107"/>
                <a:gd name="T59" fmla="*/ 5 h 5"/>
                <a:gd name="T60" fmla="*/ 0 w 107"/>
                <a:gd name="T61" fmla="*/ 2 h 5"/>
                <a:gd name="T62" fmla="*/ 2 w 107"/>
                <a:gd name="T63" fmla="*/ 0 h 5"/>
                <a:gd name="T64" fmla="*/ 10 w 107"/>
                <a:gd name="T65" fmla="*/ 0 h 5"/>
                <a:gd name="T66" fmla="*/ 12 w 107"/>
                <a:gd name="T67" fmla="*/ 2 h 5"/>
                <a:gd name="T68" fmla="*/ 10 w 107"/>
                <a:gd name="T6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" h="5">
                  <a:moveTo>
                    <a:pt x="104" y="5"/>
                  </a:moveTo>
                  <a:cubicBezTo>
                    <a:pt x="97" y="5"/>
                    <a:pt x="97" y="5"/>
                    <a:pt x="97" y="5"/>
                  </a:cubicBezTo>
                  <a:cubicBezTo>
                    <a:pt x="95" y="5"/>
                    <a:pt x="94" y="4"/>
                    <a:pt x="94" y="2"/>
                  </a:cubicBezTo>
                  <a:cubicBezTo>
                    <a:pt x="94" y="1"/>
                    <a:pt x="95" y="0"/>
                    <a:pt x="97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6" y="0"/>
                    <a:pt x="107" y="1"/>
                    <a:pt x="107" y="2"/>
                  </a:cubicBezTo>
                  <a:cubicBezTo>
                    <a:pt x="107" y="4"/>
                    <a:pt x="106" y="5"/>
                    <a:pt x="104" y="5"/>
                  </a:cubicBezTo>
                  <a:close/>
                  <a:moveTo>
                    <a:pt x="81" y="5"/>
                  </a:moveTo>
                  <a:cubicBezTo>
                    <a:pt x="73" y="5"/>
                    <a:pt x="73" y="5"/>
                    <a:pt x="73" y="5"/>
                  </a:cubicBezTo>
                  <a:cubicBezTo>
                    <a:pt x="72" y="5"/>
                    <a:pt x="70" y="4"/>
                    <a:pt x="70" y="2"/>
                  </a:cubicBezTo>
                  <a:cubicBezTo>
                    <a:pt x="70" y="1"/>
                    <a:pt x="72" y="0"/>
                    <a:pt x="73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2" y="0"/>
                    <a:pt x="83" y="1"/>
                    <a:pt x="83" y="2"/>
                  </a:cubicBezTo>
                  <a:cubicBezTo>
                    <a:pt x="83" y="4"/>
                    <a:pt x="82" y="5"/>
                    <a:pt x="81" y="5"/>
                  </a:cubicBezTo>
                  <a:close/>
                  <a:moveTo>
                    <a:pt x="57" y="5"/>
                  </a:moveTo>
                  <a:cubicBezTo>
                    <a:pt x="49" y="5"/>
                    <a:pt x="49" y="5"/>
                    <a:pt x="49" y="5"/>
                  </a:cubicBezTo>
                  <a:cubicBezTo>
                    <a:pt x="48" y="5"/>
                    <a:pt x="47" y="4"/>
                    <a:pt x="47" y="2"/>
                  </a:cubicBezTo>
                  <a:cubicBezTo>
                    <a:pt x="47" y="1"/>
                    <a:pt x="48" y="0"/>
                    <a:pt x="49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0" y="1"/>
                    <a:pt x="60" y="2"/>
                  </a:cubicBezTo>
                  <a:cubicBezTo>
                    <a:pt x="60" y="4"/>
                    <a:pt x="59" y="5"/>
                    <a:pt x="57" y="5"/>
                  </a:cubicBezTo>
                  <a:close/>
                  <a:moveTo>
                    <a:pt x="34" y="5"/>
                  </a:moveTo>
                  <a:cubicBezTo>
                    <a:pt x="26" y="5"/>
                    <a:pt x="26" y="5"/>
                    <a:pt x="26" y="5"/>
                  </a:cubicBezTo>
                  <a:cubicBezTo>
                    <a:pt x="24" y="5"/>
                    <a:pt x="23" y="4"/>
                    <a:pt x="23" y="2"/>
                  </a:cubicBezTo>
                  <a:cubicBezTo>
                    <a:pt x="23" y="1"/>
                    <a:pt x="24" y="0"/>
                    <a:pt x="26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5" y="0"/>
                    <a:pt x="36" y="1"/>
                    <a:pt x="36" y="2"/>
                  </a:cubicBezTo>
                  <a:cubicBezTo>
                    <a:pt x="36" y="4"/>
                    <a:pt x="35" y="5"/>
                    <a:pt x="34" y="5"/>
                  </a:cubicBezTo>
                  <a:close/>
                  <a:moveTo>
                    <a:pt x="10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4"/>
                    <a:pt x="11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470">
              <a:extLst>
                <a:ext uri="{FF2B5EF4-FFF2-40B4-BE49-F238E27FC236}">
                  <a16:creationId xmlns:a16="http://schemas.microsoft.com/office/drawing/2014/main" id="{77E561ED-51F4-93AC-EAFC-863CE2D0240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7176" y="2427288"/>
              <a:ext cx="20638" cy="11113"/>
            </a:xfrm>
            <a:custGeom>
              <a:avLst/>
              <a:gdLst>
                <a:gd name="T0" fmla="*/ 6 w 9"/>
                <a:gd name="T1" fmla="*/ 5 h 5"/>
                <a:gd name="T2" fmla="*/ 2 w 9"/>
                <a:gd name="T3" fmla="*/ 5 h 5"/>
                <a:gd name="T4" fmla="*/ 0 w 9"/>
                <a:gd name="T5" fmla="*/ 2 h 5"/>
                <a:gd name="T6" fmla="*/ 2 w 9"/>
                <a:gd name="T7" fmla="*/ 0 h 5"/>
                <a:gd name="T8" fmla="*/ 6 w 9"/>
                <a:gd name="T9" fmla="*/ 0 h 5"/>
                <a:gd name="T10" fmla="*/ 9 w 9"/>
                <a:gd name="T11" fmla="*/ 2 h 5"/>
                <a:gd name="T12" fmla="*/ 6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4"/>
                    <a:pt x="8" y="5"/>
                    <a:pt x="6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77" name="Shape50_20200717_142846">
            <a:extLst>
              <a:ext uri="{FF2B5EF4-FFF2-40B4-BE49-F238E27FC236}">
                <a16:creationId xmlns:a16="http://schemas.microsoft.com/office/drawing/2014/main" id="{08FCA777-F68D-DAAB-D407-7B723B3BE778}"/>
              </a:ext>
            </a:extLst>
          </p:cNvPr>
          <p:cNvGrpSpPr>
            <a:grpSpLocks noChangeAspect="1"/>
          </p:cNvGrpSpPr>
          <p:nvPr/>
        </p:nvGrpSpPr>
        <p:grpSpPr>
          <a:xfrm>
            <a:off x="4557751" y="1247675"/>
            <a:ext cx="465375" cy="551739"/>
            <a:chOff x="-2035174" y="980455"/>
            <a:chExt cx="307975" cy="365130"/>
          </a:xfrm>
          <a:solidFill>
            <a:schemeClr val="accent1"/>
          </a:solidFill>
        </p:grpSpPr>
        <p:sp>
          <p:nvSpPr>
            <p:cNvPr id="178" name="Freeform 1477">
              <a:extLst>
                <a:ext uri="{FF2B5EF4-FFF2-40B4-BE49-F238E27FC236}">
                  <a16:creationId xmlns:a16="http://schemas.microsoft.com/office/drawing/2014/main" id="{CF4C32ED-26D7-5449-601E-73016B256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63735" y="1216995"/>
              <a:ext cx="11113" cy="107950"/>
            </a:xfrm>
            <a:custGeom>
              <a:avLst/>
              <a:gdLst>
                <a:gd name="T0" fmla="*/ 5 w 11"/>
                <a:gd name="T1" fmla="*/ 104 h 104"/>
                <a:gd name="T2" fmla="*/ 0 w 11"/>
                <a:gd name="T3" fmla="*/ 98 h 104"/>
                <a:gd name="T4" fmla="*/ 0 w 11"/>
                <a:gd name="T5" fmla="*/ 6 h 104"/>
                <a:gd name="T6" fmla="*/ 5 w 11"/>
                <a:gd name="T7" fmla="*/ 0 h 104"/>
                <a:gd name="T8" fmla="*/ 11 w 11"/>
                <a:gd name="T9" fmla="*/ 6 h 104"/>
                <a:gd name="T10" fmla="*/ 11 w 11"/>
                <a:gd name="T11" fmla="*/ 98 h 104"/>
                <a:gd name="T12" fmla="*/ 5 w 11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4">
                  <a:moveTo>
                    <a:pt x="5" y="104"/>
                  </a:moveTo>
                  <a:cubicBezTo>
                    <a:pt x="2" y="104"/>
                    <a:pt x="0" y="101"/>
                    <a:pt x="0" y="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101"/>
                    <a:pt x="8" y="104"/>
                    <a:pt x="5" y="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9" name="Freeform 1478">
              <a:extLst>
                <a:ext uri="{FF2B5EF4-FFF2-40B4-BE49-F238E27FC236}">
                  <a16:creationId xmlns:a16="http://schemas.microsoft.com/office/drawing/2014/main" id="{9CFEBC92-72E7-A814-726A-CE8EAD0EAC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35174" y="1070946"/>
              <a:ext cx="222250" cy="274639"/>
            </a:xfrm>
            <a:custGeom>
              <a:avLst/>
              <a:gdLst>
                <a:gd name="T0" fmla="*/ 55 w 214"/>
                <a:gd name="T1" fmla="*/ 263 h 264"/>
                <a:gd name="T2" fmla="*/ 53 w 214"/>
                <a:gd name="T3" fmla="*/ 263 h 264"/>
                <a:gd name="T4" fmla="*/ 30 w 214"/>
                <a:gd name="T5" fmla="*/ 238 h 264"/>
                <a:gd name="T6" fmla="*/ 30 w 214"/>
                <a:gd name="T7" fmla="*/ 135 h 264"/>
                <a:gd name="T8" fmla="*/ 23 w 214"/>
                <a:gd name="T9" fmla="*/ 137 h 264"/>
                <a:gd name="T10" fmla="*/ 7 w 214"/>
                <a:gd name="T11" fmla="*/ 132 h 264"/>
                <a:gd name="T12" fmla="*/ 0 w 214"/>
                <a:gd name="T13" fmla="*/ 116 h 264"/>
                <a:gd name="T14" fmla="*/ 0 w 214"/>
                <a:gd name="T15" fmla="*/ 36 h 264"/>
                <a:gd name="T16" fmla="*/ 36 w 214"/>
                <a:gd name="T17" fmla="*/ 0 h 264"/>
                <a:gd name="T18" fmla="*/ 112 w 214"/>
                <a:gd name="T19" fmla="*/ 0 h 264"/>
                <a:gd name="T20" fmla="*/ 133 w 214"/>
                <a:gd name="T21" fmla="*/ 8 h 264"/>
                <a:gd name="T22" fmla="*/ 166 w 214"/>
                <a:gd name="T23" fmla="*/ 33 h 264"/>
                <a:gd name="T24" fmla="*/ 200 w 214"/>
                <a:gd name="T25" fmla="*/ 44 h 264"/>
                <a:gd name="T26" fmla="*/ 211 w 214"/>
                <a:gd name="T27" fmla="*/ 54 h 264"/>
                <a:gd name="T28" fmla="*/ 212 w 214"/>
                <a:gd name="T29" fmla="*/ 69 h 264"/>
                <a:gd name="T30" fmla="*/ 191 w 214"/>
                <a:gd name="T31" fmla="*/ 81 h 264"/>
                <a:gd name="T32" fmla="*/ 170 w 214"/>
                <a:gd name="T33" fmla="*/ 77 h 264"/>
                <a:gd name="T34" fmla="*/ 133 w 214"/>
                <a:gd name="T35" fmla="*/ 65 h 264"/>
                <a:gd name="T36" fmla="*/ 118 w 214"/>
                <a:gd name="T37" fmla="*/ 58 h 264"/>
                <a:gd name="T38" fmla="*/ 118 w 214"/>
                <a:gd name="T39" fmla="*/ 115 h 264"/>
                <a:gd name="T40" fmla="*/ 118 w 214"/>
                <a:gd name="T41" fmla="*/ 116 h 264"/>
                <a:gd name="T42" fmla="*/ 118 w 214"/>
                <a:gd name="T43" fmla="*/ 238 h 264"/>
                <a:gd name="T44" fmla="*/ 96 w 214"/>
                <a:gd name="T45" fmla="*/ 263 h 264"/>
                <a:gd name="T46" fmla="*/ 77 w 214"/>
                <a:gd name="T47" fmla="*/ 257 h 264"/>
                <a:gd name="T48" fmla="*/ 74 w 214"/>
                <a:gd name="T49" fmla="*/ 254 h 264"/>
                <a:gd name="T50" fmla="*/ 72 w 214"/>
                <a:gd name="T51" fmla="*/ 257 h 264"/>
                <a:gd name="T52" fmla="*/ 55 w 214"/>
                <a:gd name="T53" fmla="*/ 263 h 264"/>
                <a:gd name="T54" fmla="*/ 41 w 214"/>
                <a:gd name="T55" fmla="*/ 116 h 264"/>
                <a:gd name="T56" fmla="*/ 41 w 214"/>
                <a:gd name="T57" fmla="*/ 238 h 264"/>
                <a:gd name="T58" fmla="*/ 54 w 214"/>
                <a:gd name="T59" fmla="*/ 252 h 264"/>
                <a:gd name="T60" fmla="*/ 64 w 214"/>
                <a:gd name="T61" fmla="*/ 248 h 264"/>
                <a:gd name="T62" fmla="*/ 69 w 214"/>
                <a:gd name="T63" fmla="*/ 238 h 264"/>
                <a:gd name="T64" fmla="*/ 74 w 214"/>
                <a:gd name="T65" fmla="*/ 233 h 264"/>
                <a:gd name="T66" fmla="*/ 80 w 214"/>
                <a:gd name="T67" fmla="*/ 238 h 264"/>
                <a:gd name="T68" fmla="*/ 84 w 214"/>
                <a:gd name="T69" fmla="*/ 248 h 264"/>
                <a:gd name="T70" fmla="*/ 95 w 214"/>
                <a:gd name="T71" fmla="*/ 252 h 264"/>
                <a:gd name="T72" fmla="*/ 107 w 214"/>
                <a:gd name="T73" fmla="*/ 238 h 264"/>
                <a:gd name="T74" fmla="*/ 107 w 214"/>
                <a:gd name="T75" fmla="*/ 116 h 264"/>
                <a:gd name="T76" fmla="*/ 107 w 214"/>
                <a:gd name="T77" fmla="*/ 116 h 264"/>
                <a:gd name="T78" fmla="*/ 107 w 214"/>
                <a:gd name="T79" fmla="*/ 50 h 264"/>
                <a:gd name="T80" fmla="*/ 109 w 214"/>
                <a:gd name="T81" fmla="*/ 45 h 264"/>
                <a:gd name="T82" fmla="*/ 115 w 214"/>
                <a:gd name="T83" fmla="*/ 45 h 264"/>
                <a:gd name="T84" fmla="*/ 137 w 214"/>
                <a:gd name="T85" fmla="*/ 55 h 264"/>
                <a:gd name="T86" fmla="*/ 172 w 214"/>
                <a:gd name="T87" fmla="*/ 66 h 264"/>
                <a:gd name="T88" fmla="*/ 193 w 214"/>
                <a:gd name="T89" fmla="*/ 70 h 264"/>
                <a:gd name="T90" fmla="*/ 202 w 214"/>
                <a:gd name="T91" fmla="*/ 65 h 264"/>
                <a:gd name="T92" fmla="*/ 202 w 214"/>
                <a:gd name="T93" fmla="*/ 59 h 264"/>
                <a:gd name="T94" fmla="*/ 197 w 214"/>
                <a:gd name="T95" fmla="*/ 54 h 264"/>
                <a:gd name="T96" fmla="*/ 161 w 214"/>
                <a:gd name="T97" fmla="*/ 43 h 264"/>
                <a:gd name="T98" fmla="*/ 160 w 214"/>
                <a:gd name="T99" fmla="*/ 42 h 264"/>
                <a:gd name="T100" fmla="*/ 127 w 214"/>
                <a:gd name="T101" fmla="*/ 16 h 264"/>
                <a:gd name="T102" fmla="*/ 113 w 214"/>
                <a:gd name="T103" fmla="*/ 11 h 264"/>
                <a:gd name="T104" fmla="*/ 36 w 214"/>
                <a:gd name="T105" fmla="*/ 11 h 264"/>
                <a:gd name="T106" fmla="*/ 11 w 214"/>
                <a:gd name="T107" fmla="*/ 36 h 264"/>
                <a:gd name="T108" fmla="*/ 11 w 214"/>
                <a:gd name="T109" fmla="*/ 116 h 264"/>
                <a:gd name="T110" fmla="*/ 14 w 214"/>
                <a:gd name="T111" fmla="*/ 124 h 264"/>
                <a:gd name="T112" fmla="*/ 22 w 214"/>
                <a:gd name="T113" fmla="*/ 126 h 264"/>
                <a:gd name="T114" fmla="*/ 30 w 214"/>
                <a:gd name="T115" fmla="*/ 116 h 264"/>
                <a:gd name="T116" fmla="*/ 36 w 214"/>
                <a:gd name="T117" fmla="*/ 110 h 264"/>
                <a:gd name="T118" fmla="*/ 41 w 214"/>
                <a:gd name="T119" fmla="*/ 11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4" h="264">
                  <a:moveTo>
                    <a:pt x="55" y="263"/>
                  </a:moveTo>
                  <a:cubicBezTo>
                    <a:pt x="54" y="263"/>
                    <a:pt x="53" y="263"/>
                    <a:pt x="53" y="263"/>
                  </a:cubicBezTo>
                  <a:cubicBezTo>
                    <a:pt x="40" y="262"/>
                    <a:pt x="30" y="251"/>
                    <a:pt x="30" y="238"/>
                  </a:cubicBezTo>
                  <a:cubicBezTo>
                    <a:pt x="30" y="135"/>
                    <a:pt x="30" y="135"/>
                    <a:pt x="30" y="135"/>
                  </a:cubicBezTo>
                  <a:cubicBezTo>
                    <a:pt x="28" y="136"/>
                    <a:pt x="25" y="137"/>
                    <a:pt x="23" y="137"/>
                  </a:cubicBezTo>
                  <a:cubicBezTo>
                    <a:pt x="17" y="137"/>
                    <a:pt x="11" y="136"/>
                    <a:pt x="7" y="132"/>
                  </a:cubicBezTo>
                  <a:cubicBezTo>
                    <a:pt x="2" y="128"/>
                    <a:pt x="0" y="122"/>
                    <a:pt x="0" y="11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20" y="0"/>
                    <a:pt x="127" y="3"/>
                    <a:pt x="133" y="8"/>
                  </a:cubicBezTo>
                  <a:cubicBezTo>
                    <a:pt x="166" y="33"/>
                    <a:pt x="166" y="33"/>
                    <a:pt x="166" y="33"/>
                  </a:cubicBezTo>
                  <a:cubicBezTo>
                    <a:pt x="200" y="44"/>
                    <a:pt x="200" y="44"/>
                    <a:pt x="200" y="44"/>
                  </a:cubicBezTo>
                  <a:cubicBezTo>
                    <a:pt x="205" y="45"/>
                    <a:pt x="209" y="49"/>
                    <a:pt x="211" y="54"/>
                  </a:cubicBezTo>
                  <a:cubicBezTo>
                    <a:pt x="214" y="59"/>
                    <a:pt x="214" y="64"/>
                    <a:pt x="212" y="69"/>
                  </a:cubicBezTo>
                  <a:cubicBezTo>
                    <a:pt x="209" y="78"/>
                    <a:pt x="200" y="83"/>
                    <a:pt x="191" y="81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57" y="75"/>
                    <a:pt x="145" y="71"/>
                    <a:pt x="133" y="65"/>
                  </a:cubicBezTo>
                  <a:cubicBezTo>
                    <a:pt x="118" y="58"/>
                    <a:pt x="118" y="58"/>
                    <a:pt x="118" y="58"/>
                  </a:cubicBezTo>
                  <a:cubicBezTo>
                    <a:pt x="118" y="115"/>
                    <a:pt x="118" y="115"/>
                    <a:pt x="118" y="115"/>
                  </a:cubicBezTo>
                  <a:cubicBezTo>
                    <a:pt x="118" y="115"/>
                    <a:pt x="118" y="116"/>
                    <a:pt x="118" y="116"/>
                  </a:cubicBezTo>
                  <a:cubicBezTo>
                    <a:pt x="118" y="238"/>
                    <a:pt x="118" y="238"/>
                    <a:pt x="118" y="238"/>
                  </a:cubicBezTo>
                  <a:cubicBezTo>
                    <a:pt x="118" y="251"/>
                    <a:pt x="108" y="262"/>
                    <a:pt x="96" y="263"/>
                  </a:cubicBezTo>
                  <a:cubicBezTo>
                    <a:pt x="89" y="264"/>
                    <a:pt x="82" y="261"/>
                    <a:pt x="77" y="257"/>
                  </a:cubicBezTo>
                  <a:cubicBezTo>
                    <a:pt x="76" y="256"/>
                    <a:pt x="75" y="255"/>
                    <a:pt x="74" y="254"/>
                  </a:cubicBezTo>
                  <a:cubicBezTo>
                    <a:pt x="73" y="255"/>
                    <a:pt x="72" y="256"/>
                    <a:pt x="72" y="257"/>
                  </a:cubicBezTo>
                  <a:cubicBezTo>
                    <a:pt x="67" y="261"/>
                    <a:pt x="61" y="263"/>
                    <a:pt x="55" y="263"/>
                  </a:cubicBezTo>
                  <a:close/>
                  <a:moveTo>
                    <a:pt x="41" y="116"/>
                  </a:moveTo>
                  <a:cubicBezTo>
                    <a:pt x="41" y="238"/>
                    <a:pt x="41" y="238"/>
                    <a:pt x="41" y="238"/>
                  </a:cubicBezTo>
                  <a:cubicBezTo>
                    <a:pt x="41" y="245"/>
                    <a:pt x="47" y="251"/>
                    <a:pt x="54" y="252"/>
                  </a:cubicBezTo>
                  <a:cubicBezTo>
                    <a:pt x="58" y="252"/>
                    <a:pt x="61" y="251"/>
                    <a:pt x="64" y="248"/>
                  </a:cubicBezTo>
                  <a:cubicBezTo>
                    <a:pt x="67" y="246"/>
                    <a:pt x="69" y="242"/>
                    <a:pt x="69" y="238"/>
                  </a:cubicBezTo>
                  <a:cubicBezTo>
                    <a:pt x="69" y="235"/>
                    <a:pt x="71" y="233"/>
                    <a:pt x="74" y="233"/>
                  </a:cubicBezTo>
                  <a:cubicBezTo>
                    <a:pt x="77" y="233"/>
                    <a:pt x="80" y="235"/>
                    <a:pt x="80" y="238"/>
                  </a:cubicBezTo>
                  <a:cubicBezTo>
                    <a:pt x="80" y="242"/>
                    <a:pt x="81" y="246"/>
                    <a:pt x="84" y="248"/>
                  </a:cubicBezTo>
                  <a:cubicBezTo>
                    <a:pt x="87" y="251"/>
                    <a:pt x="91" y="252"/>
                    <a:pt x="95" y="252"/>
                  </a:cubicBezTo>
                  <a:cubicBezTo>
                    <a:pt x="102" y="251"/>
                    <a:pt x="107" y="245"/>
                    <a:pt x="107" y="238"/>
                  </a:cubicBezTo>
                  <a:cubicBezTo>
                    <a:pt x="107" y="116"/>
                    <a:pt x="107" y="116"/>
                    <a:pt x="107" y="116"/>
                  </a:cubicBezTo>
                  <a:cubicBezTo>
                    <a:pt x="107" y="116"/>
                    <a:pt x="107" y="116"/>
                    <a:pt x="107" y="116"/>
                  </a:cubicBezTo>
                  <a:cubicBezTo>
                    <a:pt x="107" y="50"/>
                    <a:pt x="107" y="50"/>
                    <a:pt x="107" y="50"/>
                  </a:cubicBezTo>
                  <a:cubicBezTo>
                    <a:pt x="107" y="48"/>
                    <a:pt x="108" y="46"/>
                    <a:pt x="109" y="45"/>
                  </a:cubicBezTo>
                  <a:cubicBezTo>
                    <a:pt x="111" y="44"/>
                    <a:pt x="113" y="44"/>
                    <a:pt x="115" y="4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49" y="60"/>
                    <a:pt x="160" y="64"/>
                    <a:pt x="172" y="66"/>
                  </a:cubicBezTo>
                  <a:cubicBezTo>
                    <a:pt x="193" y="70"/>
                    <a:pt x="193" y="70"/>
                    <a:pt x="193" y="70"/>
                  </a:cubicBezTo>
                  <a:cubicBezTo>
                    <a:pt x="197" y="71"/>
                    <a:pt x="200" y="69"/>
                    <a:pt x="202" y="65"/>
                  </a:cubicBezTo>
                  <a:cubicBezTo>
                    <a:pt x="203" y="63"/>
                    <a:pt x="203" y="61"/>
                    <a:pt x="202" y="59"/>
                  </a:cubicBezTo>
                  <a:cubicBezTo>
                    <a:pt x="201" y="56"/>
                    <a:pt x="199" y="55"/>
                    <a:pt x="197" y="54"/>
                  </a:cubicBezTo>
                  <a:cubicBezTo>
                    <a:pt x="161" y="43"/>
                    <a:pt x="161" y="43"/>
                    <a:pt x="161" y="43"/>
                  </a:cubicBezTo>
                  <a:cubicBezTo>
                    <a:pt x="161" y="43"/>
                    <a:pt x="160" y="43"/>
                    <a:pt x="160" y="42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22" y="13"/>
                    <a:pt x="117" y="11"/>
                    <a:pt x="113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2" y="11"/>
                    <a:pt x="11" y="22"/>
                    <a:pt x="11" y="3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9"/>
                    <a:pt x="12" y="122"/>
                    <a:pt x="14" y="124"/>
                  </a:cubicBezTo>
                  <a:cubicBezTo>
                    <a:pt x="16" y="125"/>
                    <a:pt x="19" y="126"/>
                    <a:pt x="22" y="126"/>
                  </a:cubicBezTo>
                  <a:cubicBezTo>
                    <a:pt x="27" y="126"/>
                    <a:pt x="30" y="121"/>
                    <a:pt x="30" y="116"/>
                  </a:cubicBezTo>
                  <a:cubicBezTo>
                    <a:pt x="30" y="113"/>
                    <a:pt x="33" y="110"/>
                    <a:pt x="36" y="110"/>
                  </a:cubicBezTo>
                  <a:cubicBezTo>
                    <a:pt x="39" y="110"/>
                    <a:pt x="41" y="113"/>
                    <a:pt x="41" y="1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0" name="Freeform 1479">
              <a:extLst>
                <a:ext uri="{FF2B5EF4-FFF2-40B4-BE49-F238E27FC236}">
                  <a16:creationId xmlns:a16="http://schemas.microsoft.com/office/drawing/2014/main" id="{B50E93FC-D476-20B0-A63D-151909842BB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5013" y="1070946"/>
              <a:ext cx="92075" cy="11113"/>
            </a:xfrm>
            <a:custGeom>
              <a:avLst/>
              <a:gdLst>
                <a:gd name="T0" fmla="*/ 82 w 88"/>
                <a:gd name="T1" fmla="*/ 11 h 11"/>
                <a:gd name="T2" fmla="*/ 6 w 88"/>
                <a:gd name="T3" fmla="*/ 11 h 11"/>
                <a:gd name="T4" fmla="*/ 0 w 88"/>
                <a:gd name="T5" fmla="*/ 6 h 11"/>
                <a:gd name="T6" fmla="*/ 6 w 88"/>
                <a:gd name="T7" fmla="*/ 0 h 11"/>
                <a:gd name="T8" fmla="*/ 82 w 88"/>
                <a:gd name="T9" fmla="*/ 0 h 11"/>
                <a:gd name="T10" fmla="*/ 88 w 88"/>
                <a:gd name="T11" fmla="*/ 6 h 11"/>
                <a:gd name="T12" fmla="*/ 82 w 88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11">
                  <a:moveTo>
                    <a:pt x="82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5" y="0"/>
                    <a:pt x="88" y="3"/>
                    <a:pt x="88" y="6"/>
                  </a:cubicBezTo>
                  <a:cubicBezTo>
                    <a:pt x="88" y="9"/>
                    <a:pt x="85" y="11"/>
                    <a:pt x="8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1" name="Freeform 1480">
              <a:extLst>
                <a:ext uri="{FF2B5EF4-FFF2-40B4-BE49-F238E27FC236}">
                  <a16:creationId xmlns:a16="http://schemas.microsoft.com/office/drawing/2014/main" id="{E89FFF07-F084-D170-9575-6A44B5AEF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5012" y="1116983"/>
              <a:ext cx="11113" cy="79375"/>
            </a:xfrm>
            <a:custGeom>
              <a:avLst/>
              <a:gdLst>
                <a:gd name="T0" fmla="*/ 6 w 11"/>
                <a:gd name="T1" fmla="*/ 77 h 77"/>
                <a:gd name="T2" fmla="*/ 0 w 11"/>
                <a:gd name="T3" fmla="*/ 72 h 77"/>
                <a:gd name="T4" fmla="*/ 0 w 11"/>
                <a:gd name="T5" fmla="*/ 6 h 77"/>
                <a:gd name="T6" fmla="*/ 6 w 11"/>
                <a:gd name="T7" fmla="*/ 0 h 77"/>
                <a:gd name="T8" fmla="*/ 11 w 11"/>
                <a:gd name="T9" fmla="*/ 6 h 77"/>
                <a:gd name="T10" fmla="*/ 11 w 11"/>
                <a:gd name="T11" fmla="*/ 72 h 77"/>
                <a:gd name="T12" fmla="*/ 6 w 11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7">
                  <a:moveTo>
                    <a:pt x="6" y="77"/>
                  </a:moveTo>
                  <a:cubicBezTo>
                    <a:pt x="3" y="77"/>
                    <a:pt x="0" y="75"/>
                    <a:pt x="0" y="7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5"/>
                    <a:pt x="9" y="77"/>
                    <a:pt x="6" y="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2" name="Freeform 1481">
              <a:extLst>
                <a:ext uri="{FF2B5EF4-FFF2-40B4-BE49-F238E27FC236}">
                  <a16:creationId xmlns:a16="http://schemas.microsoft.com/office/drawing/2014/main" id="{089FDEC6-BD3D-A558-7991-05E437F93B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90724" y="996332"/>
              <a:ext cx="63500" cy="63500"/>
            </a:xfrm>
            <a:custGeom>
              <a:avLst/>
              <a:gdLst>
                <a:gd name="T0" fmla="*/ 31 w 62"/>
                <a:gd name="T1" fmla="*/ 62 h 62"/>
                <a:gd name="T2" fmla="*/ 0 w 62"/>
                <a:gd name="T3" fmla="*/ 31 h 62"/>
                <a:gd name="T4" fmla="*/ 31 w 62"/>
                <a:gd name="T5" fmla="*/ 0 h 62"/>
                <a:gd name="T6" fmla="*/ 62 w 62"/>
                <a:gd name="T7" fmla="*/ 31 h 62"/>
                <a:gd name="T8" fmla="*/ 31 w 62"/>
                <a:gd name="T9" fmla="*/ 62 h 62"/>
                <a:gd name="T10" fmla="*/ 31 w 62"/>
                <a:gd name="T11" fmla="*/ 11 h 62"/>
                <a:gd name="T12" fmla="*/ 11 w 62"/>
                <a:gd name="T13" fmla="*/ 31 h 62"/>
                <a:gd name="T14" fmla="*/ 31 w 62"/>
                <a:gd name="T15" fmla="*/ 51 h 62"/>
                <a:gd name="T16" fmla="*/ 51 w 62"/>
                <a:gd name="T17" fmla="*/ 31 h 62"/>
                <a:gd name="T18" fmla="*/ 31 w 62"/>
                <a:gd name="T19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2">
                  <a:moveTo>
                    <a:pt x="31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2" y="14"/>
                    <a:pt x="62" y="31"/>
                  </a:cubicBezTo>
                  <a:cubicBezTo>
                    <a:pt x="62" y="48"/>
                    <a:pt x="48" y="62"/>
                    <a:pt x="31" y="62"/>
                  </a:cubicBezTo>
                  <a:close/>
                  <a:moveTo>
                    <a:pt x="31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42"/>
                    <a:pt x="20" y="51"/>
                    <a:pt x="31" y="51"/>
                  </a:cubicBezTo>
                  <a:cubicBezTo>
                    <a:pt x="42" y="51"/>
                    <a:pt x="51" y="42"/>
                    <a:pt x="51" y="31"/>
                  </a:cubicBezTo>
                  <a:cubicBezTo>
                    <a:pt x="51" y="20"/>
                    <a:pt x="42" y="11"/>
                    <a:pt x="3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3" name="Freeform 1482">
              <a:extLst>
                <a:ext uri="{FF2B5EF4-FFF2-40B4-BE49-F238E27FC236}">
                  <a16:creationId xmlns:a16="http://schemas.microsoft.com/office/drawing/2014/main" id="{386A394B-F70E-54F6-41BB-96FFBD1EB9C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3086" y="1143970"/>
              <a:ext cx="11113" cy="200025"/>
            </a:xfrm>
            <a:custGeom>
              <a:avLst/>
              <a:gdLst>
                <a:gd name="T0" fmla="*/ 6 w 11"/>
                <a:gd name="T1" fmla="*/ 193 h 193"/>
                <a:gd name="T2" fmla="*/ 0 w 11"/>
                <a:gd name="T3" fmla="*/ 187 h 193"/>
                <a:gd name="T4" fmla="*/ 0 w 11"/>
                <a:gd name="T5" fmla="*/ 6 h 193"/>
                <a:gd name="T6" fmla="*/ 6 w 11"/>
                <a:gd name="T7" fmla="*/ 0 h 193"/>
                <a:gd name="T8" fmla="*/ 11 w 11"/>
                <a:gd name="T9" fmla="*/ 6 h 193"/>
                <a:gd name="T10" fmla="*/ 11 w 11"/>
                <a:gd name="T11" fmla="*/ 187 h 193"/>
                <a:gd name="T12" fmla="*/ 6 w 11"/>
                <a:gd name="T13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93">
                  <a:moveTo>
                    <a:pt x="6" y="193"/>
                  </a:moveTo>
                  <a:cubicBezTo>
                    <a:pt x="3" y="193"/>
                    <a:pt x="0" y="191"/>
                    <a:pt x="0" y="18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6"/>
                  </a:cubicBezTo>
                  <a:cubicBezTo>
                    <a:pt x="11" y="187"/>
                    <a:pt x="11" y="187"/>
                    <a:pt x="11" y="187"/>
                  </a:cubicBezTo>
                  <a:cubicBezTo>
                    <a:pt x="11" y="191"/>
                    <a:pt x="9" y="193"/>
                    <a:pt x="6" y="19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4" name="Freeform 1483">
              <a:extLst>
                <a:ext uri="{FF2B5EF4-FFF2-40B4-BE49-F238E27FC236}">
                  <a16:creationId xmlns:a16="http://schemas.microsoft.com/office/drawing/2014/main" id="{93816CF7-BC9E-74DD-0F35-3A7C670999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3086" y="985219"/>
              <a:ext cx="11113" cy="139700"/>
            </a:xfrm>
            <a:custGeom>
              <a:avLst/>
              <a:gdLst>
                <a:gd name="T0" fmla="*/ 6 w 11"/>
                <a:gd name="T1" fmla="*/ 135 h 135"/>
                <a:gd name="T2" fmla="*/ 0 w 11"/>
                <a:gd name="T3" fmla="*/ 130 h 135"/>
                <a:gd name="T4" fmla="*/ 0 w 11"/>
                <a:gd name="T5" fmla="*/ 6 h 135"/>
                <a:gd name="T6" fmla="*/ 6 w 11"/>
                <a:gd name="T7" fmla="*/ 0 h 135"/>
                <a:gd name="T8" fmla="*/ 11 w 11"/>
                <a:gd name="T9" fmla="*/ 6 h 135"/>
                <a:gd name="T10" fmla="*/ 11 w 11"/>
                <a:gd name="T11" fmla="*/ 130 h 135"/>
                <a:gd name="T12" fmla="*/ 6 w 11"/>
                <a:gd name="T13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35">
                  <a:moveTo>
                    <a:pt x="6" y="135"/>
                  </a:moveTo>
                  <a:cubicBezTo>
                    <a:pt x="3" y="135"/>
                    <a:pt x="0" y="133"/>
                    <a:pt x="0" y="1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130"/>
                    <a:pt x="11" y="130"/>
                    <a:pt x="11" y="130"/>
                  </a:cubicBezTo>
                  <a:cubicBezTo>
                    <a:pt x="11" y="133"/>
                    <a:pt x="9" y="135"/>
                    <a:pt x="6" y="1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5" name="Freeform 1484">
              <a:extLst>
                <a:ext uri="{FF2B5EF4-FFF2-40B4-BE49-F238E27FC236}">
                  <a16:creationId xmlns:a16="http://schemas.microsoft.com/office/drawing/2014/main" id="{1DF89166-1428-7BAA-9524-8772B97017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43087" y="980455"/>
              <a:ext cx="115888" cy="85725"/>
            </a:xfrm>
            <a:custGeom>
              <a:avLst/>
              <a:gdLst>
                <a:gd name="T0" fmla="*/ 27 w 113"/>
                <a:gd name="T1" fmla="*/ 82 h 82"/>
                <a:gd name="T2" fmla="*/ 3 w 113"/>
                <a:gd name="T3" fmla="*/ 75 h 82"/>
                <a:gd name="T4" fmla="*/ 0 w 113"/>
                <a:gd name="T5" fmla="*/ 71 h 82"/>
                <a:gd name="T6" fmla="*/ 0 w 113"/>
                <a:gd name="T7" fmla="*/ 17 h 82"/>
                <a:gd name="T8" fmla="*/ 3 w 113"/>
                <a:gd name="T9" fmla="*/ 12 h 82"/>
                <a:gd name="T10" fmla="*/ 8 w 113"/>
                <a:gd name="T11" fmla="*/ 12 h 82"/>
                <a:gd name="T12" fmla="*/ 55 w 113"/>
                <a:gd name="T13" fmla="*/ 12 h 82"/>
                <a:gd name="T14" fmla="*/ 110 w 113"/>
                <a:gd name="T15" fmla="*/ 12 h 82"/>
                <a:gd name="T16" fmla="*/ 113 w 113"/>
                <a:gd name="T17" fmla="*/ 17 h 82"/>
                <a:gd name="T18" fmla="*/ 113 w 113"/>
                <a:gd name="T19" fmla="*/ 71 h 82"/>
                <a:gd name="T20" fmla="*/ 110 w 113"/>
                <a:gd name="T21" fmla="*/ 76 h 82"/>
                <a:gd name="T22" fmla="*/ 104 w 113"/>
                <a:gd name="T23" fmla="*/ 75 h 82"/>
                <a:gd name="T24" fmla="*/ 58 w 113"/>
                <a:gd name="T25" fmla="*/ 76 h 82"/>
                <a:gd name="T26" fmla="*/ 27 w 113"/>
                <a:gd name="T27" fmla="*/ 82 h 82"/>
                <a:gd name="T28" fmla="*/ 11 w 113"/>
                <a:gd name="T29" fmla="*/ 68 h 82"/>
                <a:gd name="T30" fmla="*/ 55 w 113"/>
                <a:gd name="T31" fmla="*/ 66 h 82"/>
                <a:gd name="T32" fmla="*/ 102 w 113"/>
                <a:gd name="T33" fmla="*/ 62 h 82"/>
                <a:gd name="T34" fmla="*/ 102 w 113"/>
                <a:gd name="T35" fmla="*/ 20 h 82"/>
                <a:gd name="T36" fmla="*/ 58 w 113"/>
                <a:gd name="T37" fmla="*/ 22 h 82"/>
                <a:gd name="T38" fmla="*/ 11 w 113"/>
                <a:gd name="T39" fmla="*/ 26 h 82"/>
                <a:gd name="T40" fmla="*/ 11 w 113"/>
                <a:gd name="T41" fmla="*/ 6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82">
                  <a:moveTo>
                    <a:pt x="27" y="82"/>
                  </a:moveTo>
                  <a:cubicBezTo>
                    <a:pt x="19" y="82"/>
                    <a:pt x="11" y="81"/>
                    <a:pt x="3" y="75"/>
                  </a:cubicBezTo>
                  <a:cubicBezTo>
                    <a:pt x="1" y="74"/>
                    <a:pt x="0" y="73"/>
                    <a:pt x="0" y="7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5"/>
                    <a:pt x="1" y="13"/>
                    <a:pt x="3" y="12"/>
                  </a:cubicBezTo>
                  <a:cubicBezTo>
                    <a:pt x="5" y="11"/>
                    <a:pt x="7" y="11"/>
                    <a:pt x="8" y="12"/>
                  </a:cubicBezTo>
                  <a:cubicBezTo>
                    <a:pt x="23" y="22"/>
                    <a:pt x="39" y="17"/>
                    <a:pt x="55" y="12"/>
                  </a:cubicBezTo>
                  <a:cubicBezTo>
                    <a:pt x="72" y="6"/>
                    <a:pt x="91" y="0"/>
                    <a:pt x="110" y="12"/>
                  </a:cubicBezTo>
                  <a:cubicBezTo>
                    <a:pt x="112" y="13"/>
                    <a:pt x="113" y="15"/>
                    <a:pt x="113" y="17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3" y="73"/>
                    <a:pt x="112" y="75"/>
                    <a:pt x="110" y="76"/>
                  </a:cubicBezTo>
                  <a:cubicBezTo>
                    <a:pt x="108" y="77"/>
                    <a:pt x="106" y="77"/>
                    <a:pt x="104" y="75"/>
                  </a:cubicBezTo>
                  <a:cubicBezTo>
                    <a:pt x="90" y="66"/>
                    <a:pt x="74" y="71"/>
                    <a:pt x="58" y="76"/>
                  </a:cubicBezTo>
                  <a:cubicBezTo>
                    <a:pt x="48" y="79"/>
                    <a:pt x="38" y="82"/>
                    <a:pt x="27" y="82"/>
                  </a:cubicBezTo>
                  <a:close/>
                  <a:moveTo>
                    <a:pt x="11" y="68"/>
                  </a:moveTo>
                  <a:cubicBezTo>
                    <a:pt x="25" y="75"/>
                    <a:pt x="40" y="70"/>
                    <a:pt x="55" y="66"/>
                  </a:cubicBezTo>
                  <a:cubicBezTo>
                    <a:pt x="69" y="61"/>
                    <a:pt x="86" y="56"/>
                    <a:pt x="102" y="62"/>
                  </a:cubicBezTo>
                  <a:cubicBezTo>
                    <a:pt x="102" y="20"/>
                    <a:pt x="102" y="20"/>
                    <a:pt x="102" y="20"/>
                  </a:cubicBezTo>
                  <a:cubicBezTo>
                    <a:pt x="88" y="13"/>
                    <a:pt x="73" y="18"/>
                    <a:pt x="58" y="22"/>
                  </a:cubicBezTo>
                  <a:cubicBezTo>
                    <a:pt x="44" y="27"/>
                    <a:pt x="27" y="32"/>
                    <a:pt x="11" y="26"/>
                  </a:cubicBezTo>
                  <a:lnTo>
                    <a:pt x="11" y="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86" name="Shape46_20200717_142846">
            <a:extLst>
              <a:ext uri="{FF2B5EF4-FFF2-40B4-BE49-F238E27FC236}">
                <a16:creationId xmlns:a16="http://schemas.microsoft.com/office/drawing/2014/main" id="{77656A89-A87E-A73F-BFAD-A06568721B58}"/>
              </a:ext>
            </a:extLst>
          </p:cNvPr>
          <p:cNvGrpSpPr>
            <a:grpSpLocks noChangeAspect="1"/>
          </p:cNvGrpSpPr>
          <p:nvPr/>
        </p:nvGrpSpPr>
        <p:grpSpPr>
          <a:xfrm>
            <a:off x="4578161" y="3880379"/>
            <a:ext cx="311850" cy="508554"/>
            <a:chOff x="-1984375" y="3377579"/>
            <a:chExt cx="206375" cy="336550"/>
          </a:xfrm>
          <a:solidFill>
            <a:schemeClr val="accent1"/>
          </a:solidFill>
        </p:grpSpPr>
        <p:sp>
          <p:nvSpPr>
            <p:cNvPr id="187" name="Freeform 1443">
              <a:extLst>
                <a:ext uri="{FF2B5EF4-FFF2-40B4-BE49-F238E27FC236}">
                  <a16:creationId xmlns:a16="http://schemas.microsoft.com/office/drawing/2014/main" id="{90286704-F447-3092-5B9F-70409D7E7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22462" y="3482354"/>
              <a:ext cx="82550" cy="123825"/>
            </a:xfrm>
            <a:custGeom>
              <a:avLst/>
              <a:gdLst>
                <a:gd name="T0" fmla="*/ 39 w 80"/>
                <a:gd name="T1" fmla="*/ 118 h 118"/>
                <a:gd name="T2" fmla="*/ 2 w 80"/>
                <a:gd name="T3" fmla="*/ 99 h 118"/>
                <a:gd name="T4" fmla="*/ 3 w 80"/>
                <a:gd name="T5" fmla="*/ 92 h 118"/>
                <a:gd name="T6" fmla="*/ 11 w 80"/>
                <a:gd name="T7" fmla="*/ 93 h 118"/>
                <a:gd name="T8" fmla="*/ 57 w 80"/>
                <a:gd name="T9" fmla="*/ 103 h 118"/>
                <a:gd name="T10" fmla="*/ 58 w 80"/>
                <a:gd name="T11" fmla="*/ 103 h 118"/>
                <a:gd name="T12" fmla="*/ 68 w 80"/>
                <a:gd name="T13" fmla="*/ 84 h 118"/>
                <a:gd name="T14" fmla="*/ 52 w 80"/>
                <a:gd name="T15" fmla="*/ 66 h 118"/>
                <a:gd name="T16" fmla="*/ 24 w 80"/>
                <a:gd name="T17" fmla="*/ 57 h 118"/>
                <a:gd name="T18" fmla="*/ 2 w 80"/>
                <a:gd name="T19" fmla="*/ 29 h 118"/>
                <a:gd name="T20" fmla="*/ 11 w 80"/>
                <a:gd name="T21" fmla="*/ 9 h 118"/>
                <a:gd name="T22" fmla="*/ 41 w 80"/>
                <a:gd name="T23" fmla="*/ 0 h 118"/>
                <a:gd name="T24" fmla="*/ 79 w 80"/>
                <a:gd name="T25" fmla="*/ 26 h 118"/>
                <a:gd name="T26" fmla="*/ 75 w 80"/>
                <a:gd name="T27" fmla="*/ 33 h 118"/>
                <a:gd name="T28" fmla="*/ 68 w 80"/>
                <a:gd name="T29" fmla="*/ 29 h 118"/>
                <a:gd name="T30" fmla="*/ 41 w 80"/>
                <a:gd name="T31" fmla="*/ 11 h 118"/>
                <a:gd name="T32" fmla="*/ 18 w 80"/>
                <a:gd name="T33" fmla="*/ 17 h 118"/>
                <a:gd name="T34" fmla="*/ 13 w 80"/>
                <a:gd name="T35" fmla="*/ 29 h 118"/>
                <a:gd name="T36" fmla="*/ 27 w 80"/>
                <a:gd name="T37" fmla="*/ 47 h 118"/>
                <a:gd name="T38" fmla="*/ 56 w 80"/>
                <a:gd name="T39" fmla="*/ 55 h 118"/>
                <a:gd name="T40" fmla="*/ 78 w 80"/>
                <a:gd name="T41" fmla="*/ 83 h 118"/>
                <a:gd name="T42" fmla="*/ 62 w 80"/>
                <a:gd name="T43" fmla="*/ 113 h 118"/>
                <a:gd name="T44" fmla="*/ 39 w 80"/>
                <a:gd name="T45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118">
                  <a:moveTo>
                    <a:pt x="39" y="118"/>
                  </a:moveTo>
                  <a:cubicBezTo>
                    <a:pt x="27" y="118"/>
                    <a:pt x="13" y="114"/>
                    <a:pt x="2" y="99"/>
                  </a:cubicBezTo>
                  <a:cubicBezTo>
                    <a:pt x="0" y="97"/>
                    <a:pt x="1" y="93"/>
                    <a:pt x="3" y="92"/>
                  </a:cubicBezTo>
                  <a:cubicBezTo>
                    <a:pt x="6" y="90"/>
                    <a:pt x="9" y="90"/>
                    <a:pt x="11" y="93"/>
                  </a:cubicBezTo>
                  <a:cubicBezTo>
                    <a:pt x="30" y="117"/>
                    <a:pt x="56" y="103"/>
                    <a:pt x="57" y="103"/>
                  </a:cubicBezTo>
                  <a:cubicBezTo>
                    <a:pt x="57" y="103"/>
                    <a:pt x="58" y="103"/>
                    <a:pt x="58" y="103"/>
                  </a:cubicBezTo>
                  <a:cubicBezTo>
                    <a:pt x="59" y="102"/>
                    <a:pt x="69" y="98"/>
                    <a:pt x="68" y="84"/>
                  </a:cubicBezTo>
                  <a:cubicBezTo>
                    <a:pt x="66" y="70"/>
                    <a:pt x="53" y="66"/>
                    <a:pt x="52" y="66"/>
                  </a:cubicBezTo>
                  <a:cubicBezTo>
                    <a:pt x="52" y="66"/>
                    <a:pt x="38" y="61"/>
                    <a:pt x="24" y="57"/>
                  </a:cubicBezTo>
                  <a:cubicBezTo>
                    <a:pt x="9" y="53"/>
                    <a:pt x="2" y="43"/>
                    <a:pt x="2" y="29"/>
                  </a:cubicBezTo>
                  <a:cubicBezTo>
                    <a:pt x="2" y="21"/>
                    <a:pt x="5" y="14"/>
                    <a:pt x="11" y="9"/>
                  </a:cubicBezTo>
                  <a:cubicBezTo>
                    <a:pt x="17" y="3"/>
                    <a:pt x="28" y="0"/>
                    <a:pt x="41" y="0"/>
                  </a:cubicBezTo>
                  <a:cubicBezTo>
                    <a:pt x="65" y="0"/>
                    <a:pt x="76" y="17"/>
                    <a:pt x="79" y="26"/>
                  </a:cubicBezTo>
                  <a:cubicBezTo>
                    <a:pt x="79" y="29"/>
                    <a:pt x="78" y="32"/>
                    <a:pt x="75" y="33"/>
                  </a:cubicBezTo>
                  <a:cubicBezTo>
                    <a:pt x="72" y="34"/>
                    <a:pt x="69" y="32"/>
                    <a:pt x="68" y="29"/>
                  </a:cubicBezTo>
                  <a:cubicBezTo>
                    <a:pt x="68" y="28"/>
                    <a:pt x="62" y="11"/>
                    <a:pt x="41" y="11"/>
                  </a:cubicBezTo>
                  <a:cubicBezTo>
                    <a:pt x="30" y="11"/>
                    <a:pt x="23" y="13"/>
                    <a:pt x="18" y="17"/>
                  </a:cubicBezTo>
                  <a:cubicBezTo>
                    <a:pt x="14" y="20"/>
                    <a:pt x="13" y="24"/>
                    <a:pt x="13" y="29"/>
                  </a:cubicBezTo>
                  <a:cubicBezTo>
                    <a:pt x="13" y="38"/>
                    <a:pt x="17" y="44"/>
                    <a:pt x="27" y="47"/>
                  </a:cubicBezTo>
                  <a:cubicBezTo>
                    <a:pt x="41" y="51"/>
                    <a:pt x="56" y="55"/>
                    <a:pt x="56" y="55"/>
                  </a:cubicBezTo>
                  <a:cubicBezTo>
                    <a:pt x="56" y="55"/>
                    <a:pt x="76" y="61"/>
                    <a:pt x="78" y="83"/>
                  </a:cubicBezTo>
                  <a:cubicBezTo>
                    <a:pt x="80" y="100"/>
                    <a:pt x="69" y="110"/>
                    <a:pt x="62" y="113"/>
                  </a:cubicBezTo>
                  <a:cubicBezTo>
                    <a:pt x="57" y="116"/>
                    <a:pt x="48" y="118"/>
                    <a:pt x="39" y="1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Freeform 1444">
              <a:extLst>
                <a:ext uri="{FF2B5EF4-FFF2-40B4-BE49-F238E27FC236}">
                  <a16:creationId xmlns:a16="http://schemas.microsoft.com/office/drawing/2014/main" id="{0A3D0C8B-3B45-EFD4-5844-AA7C6095B49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85950" y="3460130"/>
              <a:ext cx="11113" cy="34925"/>
            </a:xfrm>
            <a:custGeom>
              <a:avLst/>
              <a:gdLst>
                <a:gd name="T0" fmla="*/ 6 w 11"/>
                <a:gd name="T1" fmla="*/ 33 h 33"/>
                <a:gd name="T2" fmla="*/ 0 w 11"/>
                <a:gd name="T3" fmla="*/ 27 h 33"/>
                <a:gd name="T4" fmla="*/ 0 w 11"/>
                <a:gd name="T5" fmla="*/ 5 h 33"/>
                <a:gd name="T6" fmla="*/ 6 w 11"/>
                <a:gd name="T7" fmla="*/ 0 h 33"/>
                <a:gd name="T8" fmla="*/ 11 w 11"/>
                <a:gd name="T9" fmla="*/ 5 h 33"/>
                <a:gd name="T10" fmla="*/ 11 w 11"/>
                <a:gd name="T11" fmla="*/ 27 h 33"/>
                <a:gd name="T12" fmla="*/ 6 w 11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3">
                  <a:moveTo>
                    <a:pt x="6" y="33"/>
                  </a:moveTo>
                  <a:cubicBezTo>
                    <a:pt x="3" y="33"/>
                    <a:pt x="0" y="30"/>
                    <a:pt x="0" y="2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30"/>
                    <a:pt x="9" y="33"/>
                    <a:pt x="6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Freeform 1445">
              <a:extLst>
                <a:ext uri="{FF2B5EF4-FFF2-40B4-BE49-F238E27FC236}">
                  <a16:creationId xmlns:a16="http://schemas.microsoft.com/office/drawing/2014/main" id="{096FDED4-7D10-8D49-3417-AA2B004267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85950" y="3596655"/>
              <a:ext cx="11113" cy="33338"/>
            </a:xfrm>
            <a:custGeom>
              <a:avLst/>
              <a:gdLst>
                <a:gd name="T0" fmla="*/ 6 w 11"/>
                <a:gd name="T1" fmla="*/ 33 h 33"/>
                <a:gd name="T2" fmla="*/ 0 w 11"/>
                <a:gd name="T3" fmla="*/ 27 h 33"/>
                <a:gd name="T4" fmla="*/ 0 w 11"/>
                <a:gd name="T5" fmla="*/ 5 h 33"/>
                <a:gd name="T6" fmla="*/ 6 w 11"/>
                <a:gd name="T7" fmla="*/ 0 h 33"/>
                <a:gd name="T8" fmla="*/ 11 w 11"/>
                <a:gd name="T9" fmla="*/ 5 h 33"/>
                <a:gd name="T10" fmla="*/ 11 w 11"/>
                <a:gd name="T11" fmla="*/ 27 h 33"/>
                <a:gd name="T12" fmla="*/ 6 w 11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3">
                  <a:moveTo>
                    <a:pt x="6" y="33"/>
                  </a:moveTo>
                  <a:cubicBezTo>
                    <a:pt x="3" y="33"/>
                    <a:pt x="0" y="30"/>
                    <a:pt x="0" y="2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30"/>
                    <a:pt x="9" y="33"/>
                    <a:pt x="6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1446">
              <a:extLst>
                <a:ext uri="{FF2B5EF4-FFF2-40B4-BE49-F238E27FC236}">
                  <a16:creationId xmlns:a16="http://schemas.microsoft.com/office/drawing/2014/main" id="{E51E08D5-74FE-D970-F3FB-6E99DC04D2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84375" y="3377579"/>
              <a:ext cx="206375" cy="336550"/>
            </a:xfrm>
            <a:custGeom>
              <a:avLst/>
              <a:gdLst>
                <a:gd name="T0" fmla="*/ 166 w 198"/>
                <a:gd name="T1" fmla="*/ 324 h 324"/>
                <a:gd name="T2" fmla="*/ 32 w 198"/>
                <a:gd name="T3" fmla="*/ 324 h 324"/>
                <a:gd name="T4" fmla="*/ 0 w 198"/>
                <a:gd name="T5" fmla="*/ 292 h 324"/>
                <a:gd name="T6" fmla="*/ 0 w 198"/>
                <a:gd name="T7" fmla="*/ 31 h 324"/>
                <a:gd name="T8" fmla="*/ 32 w 198"/>
                <a:gd name="T9" fmla="*/ 0 h 324"/>
                <a:gd name="T10" fmla="*/ 166 w 198"/>
                <a:gd name="T11" fmla="*/ 0 h 324"/>
                <a:gd name="T12" fmla="*/ 198 w 198"/>
                <a:gd name="T13" fmla="*/ 31 h 324"/>
                <a:gd name="T14" fmla="*/ 198 w 198"/>
                <a:gd name="T15" fmla="*/ 292 h 324"/>
                <a:gd name="T16" fmla="*/ 166 w 198"/>
                <a:gd name="T17" fmla="*/ 324 h 324"/>
                <a:gd name="T18" fmla="*/ 32 w 198"/>
                <a:gd name="T19" fmla="*/ 11 h 324"/>
                <a:gd name="T20" fmla="*/ 11 w 198"/>
                <a:gd name="T21" fmla="*/ 31 h 324"/>
                <a:gd name="T22" fmla="*/ 11 w 198"/>
                <a:gd name="T23" fmla="*/ 292 h 324"/>
                <a:gd name="T24" fmla="*/ 32 w 198"/>
                <a:gd name="T25" fmla="*/ 313 h 324"/>
                <a:gd name="T26" fmla="*/ 166 w 198"/>
                <a:gd name="T27" fmla="*/ 313 h 324"/>
                <a:gd name="T28" fmla="*/ 187 w 198"/>
                <a:gd name="T29" fmla="*/ 292 h 324"/>
                <a:gd name="T30" fmla="*/ 187 w 198"/>
                <a:gd name="T31" fmla="*/ 31 h 324"/>
                <a:gd name="T32" fmla="*/ 166 w 198"/>
                <a:gd name="T33" fmla="*/ 11 h 324"/>
                <a:gd name="T34" fmla="*/ 32 w 198"/>
                <a:gd name="T35" fmla="*/ 11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" h="324">
                  <a:moveTo>
                    <a:pt x="166" y="324"/>
                  </a:moveTo>
                  <a:cubicBezTo>
                    <a:pt x="32" y="324"/>
                    <a:pt x="32" y="324"/>
                    <a:pt x="32" y="324"/>
                  </a:cubicBezTo>
                  <a:cubicBezTo>
                    <a:pt x="14" y="324"/>
                    <a:pt x="0" y="310"/>
                    <a:pt x="0" y="292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84" y="0"/>
                    <a:pt x="198" y="14"/>
                    <a:pt x="198" y="31"/>
                  </a:cubicBezTo>
                  <a:cubicBezTo>
                    <a:pt x="198" y="292"/>
                    <a:pt x="198" y="292"/>
                    <a:pt x="198" y="292"/>
                  </a:cubicBezTo>
                  <a:cubicBezTo>
                    <a:pt x="198" y="310"/>
                    <a:pt x="184" y="324"/>
                    <a:pt x="166" y="324"/>
                  </a:cubicBezTo>
                  <a:close/>
                  <a:moveTo>
                    <a:pt x="32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292"/>
                    <a:pt x="11" y="292"/>
                    <a:pt x="11" y="292"/>
                  </a:cubicBezTo>
                  <a:cubicBezTo>
                    <a:pt x="11" y="304"/>
                    <a:pt x="20" y="313"/>
                    <a:pt x="32" y="313"/>
                  </a:cubicBezTo>
                  <a:cubicBezTo>
                    <a:pt x="166" y="313"/>
                    <a:pt x="166" y="313"/>
                    <a:pt x="166" y="313"/>
                  </a:cubicBezTo>
                  <a:cubicBezTo>
                    <a:pt x="178" y="313"/>
                    <a:pt x="187" y="304"/>
                    <a:pt x="187" y="292"/>
                  </a:cubicBezTo>
                  <a:cubicBezTo>
                    <a:pt x="187" y="31"/>
                    <a:pt x="187" y="31"/>
                    <a:pt x="187" y="31"/>
                  </a:cubicBezTo>
                  <a:cubicBezTo>
                    <a:pt x="187" y="20"/>
                    <a:pt x="178" y="11"/>
                    <a:pt x="166" y="11"/>
                  </a:cubicBezTo>
                  <a:lnTo>
                    <a:pt x="32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1" name="Freeform 1447">
              <a:extLst>
                <a:ext uri="{FF2B5EF4-FFF2-40B4-BE49-F238E27FC236}">
                  <a16:creationId xmlns:a16="http://schemas.microsoft.com/office/drawing/2014/main" id="{B218452B-FC65-EFED-A5ED-D02581FA3F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84375" y="3417268"/>
              <a:ext cx="206375" cy="255588"/>
            </a:xfrm>
            <a:custGeom>
              <a:avLst/>
              <a:gdLst>
                <a:gd name="T0" fmla="*/ 192 w 198"/>
                <a:gd name="T1" fmla="*/ 247 h 247"/>
                <a:gd name="T2" fmla="*/ 5 w 198"/>
                <a:gd name="T3" fmla="*/ 247 h 247"/>
                <a:gd name="T4" fmla="*/ 0 w 198"/>
                <a:gd name="T5" fmla="*/ 242 h 247"/>
                <a:gd name="T6" fmla="*/ 0 w 198"/>
                <a:gd name="T7" fmla="*/ 6 h 247"/>
                <a:gd name="T8" fmla="*/ 5 w 198"/>
                <a:gd name="T9" fmla="*/ 0 h 247"/>
                <a:gd name="T10" fmla="*/ 192 w 198"/>
                <a:gd name="T11" fmla="*/ 0 h 247"/>
                <a:gd name="T12" fmla="*/ 198 w 198"/>
                <a:gd name="T13" fmla="*/ 6 h 247"/>
                <a:gd name="T14" fmla="*/ 198 w 198"/>
                <a:gd name="T15" fmla="*/ 242 h 247"/>
                <a:gd name="T16" fmla="*/ 192 w 198"/>
                <a:gd name="T17" fmla="*/ 247 h 247"/>
                <a:gd name="T18" fmla="*/ 11 w 198"/>
                <a:gd name="T19" fmla="*/ 236 h 247"/>
                <a:gd name="T20" fmla="*/ 187 w 198"/>
                <a:gd name="T21" fmla="*/ 236 h 247"/>
                <a:gd name="T22" fmla="*/ 187 w 198"/>
                <a:gd name="T23" fmla="*/ 11 h 247"/>
                <a:gd name="T24" fmla="*/ 11 w 198"/>
                <a:gd name="T25" fmla="*/ 11 h 247"/>
                <a:gd name="T26" fmla="*/ 11 w 198"/>
                <a:gd name="T27" fmla="*/ 236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8" h="247">
                  <a:moveTo>
                    <a:pt x="192" y="247"/>
                  </a:moveTo>
                  <a:cubicBezTo>
                    <a:pt x="5" y="247"/>
                    <a:pt x="5" y="247"/>
                    <a:pt x="5" y="247"/>
                  </a:cubicBezTo>
                  <a:cubicBezTo>
                    <a:pt x="2" y="247"/>
                    <a:pt x="0" y="245"/>
                    <a:pt x="0" y="2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95" y="0"/>
                    <a:pt x="198" y="3"/>
                    <a:pt x="198" y="6"/>
                  </a:cubicBezTo>
                  <a:cubicBezTo>
                    <a:pt x="198" y="242"/>
                    <a:pt x="198" y="242"/>
                    <a:pt x="198" y="242"/>
                  </a:cubicBezTo>
                  <a:cubicBezTo>
                    <a:pt x="198" y="245"/>
                    <a:pt x="195" y="247"/>
                    <a:pt x="192" y="247"/>
                  </a:cubicBezTo>
                  <a:close/>
                  <a:moveTo>
                    <a:pt x="11" y="236"/>
                  </a:moveTo>
                  <a:cubicBezTo>
                    <a:pt x="187" y="236"/>
                    <a:pt x="187" y="236"/>
                    <a:pt x="187" y="236"/>
                  </a:cubicBezTo>
                  <a:cubicBezTo>
                    <a:pt x="187" y="11"/>
                    <a:pt x="187" y="11"/>
                    <a:pt x="187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2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92" name="Shape57_20200717_142846">
            <a:extLst>
              <a:ext uri="{FF2B5EF4-FFF2-40B4-BE49-F238E27FC236}">
                <a16:creationId xmlns:a16="http://schemas.microsoft.com/office/drawing/2014/main" id="{A61DDA88-2F5A-6D2D-E028-40BA5B4D5758}"/>
              </a:ext>
            </a:extLst>
          </p:cNvPr>
          <p:cNvGrpSpPr>
            <a:grpSpLocks noChangeAspect="1"/>
          </p:cNvGrpSpPr>
          <p:nvPr/>
        </p:nvGrpSpPr>
        <p:grpSpPr>
          <a:xfrm>
            <a:off x="4546955" y="2573628"/>
            <a:ext cx="486957" cy="510957"/>
            <a:chOff x="-4251317" y="2582238"/>
            <a:chExt cx="322255" cy="338139"/>
          </a:xfrm>
          <a:solidFill>
            <a:schemeClr val="accent1"/>
          </a:solidFill>
        </p:grpSpPr>
        <p:sp>
          <p:nvSpPr>
            <p:cNvPr id="193" name="Freeform 1570">
              <a:extLst>
                <a:ext uri="{FF2B5EF4-FFF2-40B4-BE49-F238E27FC236}">
                  <a16:creationId xmlns:a16="http://schemas.microsoft.com/office/drawing/2014/main" id="{262B3323-C825-B11F-B428-752D3A5D80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211627" y="2582238"/>
              <a:ext cx="65088" cy="65088"/>
            </a:xfrm>
            <a:custGeom>
              <a:avLst/>
              <a:gdLst>
                <a:gd name="T0" fmla="*/ 32 w 63"/>
                <a:gd name="T1" fmla="*/ 63 h 63"/>
                <a:gd name="T2" fmla="*/ 0 w 63"/>
                <a:gd name="T3" fmla="*/ 32 h 63"/>
                <a:gd name="T4" fmla="*/ 32 w 63"/>
                <a:gd name="T5" fmla="*/ 0 h 63"/>
                <a:gd name="T6" fmla="*/ 63 w 63"/>
                <a:gd name="T7" fmla="*/ 32 h 63"/>
                <a:gd name="T8" fmla="*/ 32 w 63"/>
                <a:gd name="T9" fmla="*/ 63 h 63"/>
                <a:gd name="T10" fmla="*/ 32 w 63"/>
                <a:gd name="T11" fmla="*/ 11 h 63"/>
                <a:gd name="T12" fmla="*/ 11 w 63"/>
                <a:gd name="T13" fmla="*/ 32 h 63"/>
                <a:gd name="T14" fmla="*/ 32 w 63"/>
                <a:gd name="T15" fmla="*/ 53 h 63"/>
                <a:gd name="T16" fmla="*/ 52 w 63"/>
                <a:gd name="T17" fmla="*/ 32 h 63"/>
                <a:gd name="T18" fmla="*/ 32 w 63"/>
                <a:gd name="T19" fmla="*/ 1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32" y="63"/>
                  </a:moveTo>
                  <a:cubicBezTo>
                    <a:pt x="14" y="63"/>
                    <a:pt x="0" y="49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3" y="14"/>
                    <a:pt x="63" y="32"/>
                  </a:cubicBezTo>
                  <a:cubicBezTo>
                    <a:pt x="63" y="49"/>
                    <a:pt x="49" y="63"/>
                    <a:pt x="32" y="63"/>
                  </a:cubicBezTo>
                  <a:close/>
                  <a:moveTo>
                    <a:pt x="32" y="11"/>
                  </a:moveTo>
                  <a:cubicBezTo>
                    <a:pt x="20" y="11"/>
                    <a:pt x="11" y="20"/>
                    <a:pt x="11" y="32"/>
                  </a:cubicBezTo>
                  <a:cubicBezTo>
                    <a:pt x="11" y="43"/>
                    <a:pt x="20" y="53"/>
                    <a:pt x="32" y="53"/>
                  </a:cubicBezTo>
                  <a:cubicBezTo>
                    <a:pt x="43" y="53"/>
                    <a:pt x="52" y="43"/>
                    <a:pt x="52" y="32"/>
                  </a:cubicBezTo>
                  <a:cubicBezTo>
                    <a:pt x="52" y="20"/>
                    <a:pt x="43" y="11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4" name="Freeform 1571">
              <a:extLst>
                <a:ext uri="{FF2B5EF4-FFF2-40B4-BE49-F238E27FC236}">
                  <a16:creationId xmlns:a16="http://schemas.microsoft.com/office/drawing/2014/main" id="{67DE10A4-A71E-1BDD-9CE0-648EDB9BCB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219565" y="2656851"/>
              <a:ext cx="188912" cy="260350"/>
            </a:xfrm>
            <a:custGeom>
              <a:avLst/>
              <a:gdLst>
                <a:gd name="T0" fmla="*/ 132 w 182"/>
                <a:gd name="T1" fmla="*/ 251 h 251"/>
                <a:gd name="T2" fmla="*/ 112 w 182"/>
                <a:gd name="T3" fmla="*/ 234 h 251"/>
                <a:gd name="T4" fmla="*/ 105 w 182"/>
                <a:gd name="T5" fmla="*/ 185 h 251"/>
                <a:gd name="T6" fmla="*/ 94 w 182"/>
                <a:gd name="T7" fmla="*/ 174 h 251"/>
                <a:gd name="T8" fmla="*/ 70 w 182"/>
                <a:gd name="T9" fmla="*/ 175 h 251"/>
                <a:gd name="T10" fmla="*/ 51 w 182"/>
                <a:gd name="T11" fmla="*/ 175 h 251"/>
                <a:gd name="T12" fmla="*/ 5 w 182"/>
                <a:gd name="T13" fmla="*/ 132 h 251"/>
                <a:gd name="T14" fmla="*/ 1 w 182"/>
                <a:gd name="T15" fmla="*/ 38 h 251"/>
                <a:gd name="T16" fmla="*/ 10 w 182"/>
                <a:gd name="T17" fmla="*/ 12 h 251"/>
                <a:gd name="T18" fmla="*/ 36 w 182"/>
                <a:gd name="T19" fmla="*/ 0 h 251"/>
                <a:gd name="T20" fmla="*/ 47 w 182"/>
                <a:gd name="T21" fmla="*/ 0 h 251"/>
                <a:gd name="T22" fmla="*/ 91 w 182"/>
                <a:gd name="T23" fmla="*/ 16 h 251"/>
                <a:gd name="T24" fmla="*/ 104 w 182"/>
                <a:gd name="T25" fmla="*/ 25 h 251"/>
                <a:gd name="T26" fmla="*/ 143 w 182"/>
                <a:gd name="T27" fmla="*/ 40 h 251"/>
                <a:gd name="T28" fmla="*/ 165 w 182"/>
                <a:gd name="T29" fmla="*/ 42 h 251"/>
                <a:gd name="T30" fmla="*/ 181 w 182"/>
                <a:gd name="T31" fmla="*/ 61 h 251"/>
                <a:gd name="T32" fmla="*/ 165 w 182"/>
                <a:gd name="T33" fmla="*/ 78 h 251"/>
                <a:gd name="T34" fmla="*/ 136 w 182"/>
                <a:gd name="T35" fmla="*/ 80 h 251"/>
                <a:gd name="T36" fmla="*/ 95 w 182"/>
                <a:gd name="T37" fmla="*/ 72 h 251"/>
                <a:gd name="T38" fmla="*/ 75 w 182"/>
                <a:gd name="T39" fmla="*/ 63 h 251"/>
                <a:gd name="T40" fmla="*/ 71 w 182"/>
                <a:gd name="T41" fmla="*/ 124 h 251"/>
                <a:gd name="T42" fmla="*/ 122 w 182"/>
                <a:gd name="T43" fmla="*/ 140 h 251"/>
                <a:gd name="T44" fmla="*/ 143 w 182"/>
                <a:gd name="T45" fmla="*/ 165 h 251"/>
                <a:gd name="T46" fmla="*/ 152 w 182"/>
                <a:gd name="T47" fmla="*/ 228 h 251"/>
                <a:gd name="T48" fmla="*/ 135 w 182"/>
                <a:gd name="T49" fmla="*/ 251 h 251"/>
                <a:gd name="T50" fmla="*/ 132 w 182"/>
                <a:gd name="T51" fmla="*/ 251 h 251"/>
                <a:gd name="T52" fmla="*/ 94 w 182"/>
                <a:gd name="T53" fmla="*/ 163 h 251"/>
                <a:gd name="T54" fmla="*/ 95 w 182"/>
                <a:gd name="T55" fmla="*/ 164 h 251"/>
                <a:gd name="T56" fmla="*/ 115 w 182"/>
                <a:gd name="T57" fmla="*/ 184 h 251"/>
                <a:gd name="T58" fmla="*/ 123 w 182"/>
                <a:gd name="T59" fmla="*/ 232 h 251"/>
                <a:gd name="T60" fmla="*/ 133 w 182"/>
                <a:gd name="T61" fmla="*/ 240 h 251"/>
                <a:gd name="T62" fmla="*/ 141 w 182"/>
                <a:gd name="T63" fmla="*/ 230 h 251"/>
                <a:gd name="T64" fmla="*/ 133 w 182"/>
                <a:gd name="T65" fmla="*/ 167 h 251"/>
                <a:gd name="T66" fmla="*/ 119 w 182"/>
                <a:gd name="T67" fmla="*/ 150 h 251"/>
                <a:gd name="T68" fmla="*/ 63 w 182"/>
                <a:gd name="T69" fmla="*/ 134 h 251"/>
                <a:gd name="T70" fmla="*/ 59 w 182"/>
                <a:gd name="T71" fmla="*/ 128 h 251"/>
                <a:gd name="T72" fmla="*/ 64 w 182"/>
                <a:gd name="T73" fmla="*/ 54 h 251"/>
                <a:gd name="T74" fmla="*/ 67 w 182"/>
                <a:gd name="T75" fmla="*/ 50 h 251"/>
                <a:gd name="T76" fmla="*/ 72 w 182"/>
                <a:gd name="T77" fmla="*/ 50 h 251"/>
                <a:gd name="T78" fmla="*/ 99 w 182"/>
                <a:gd name="T79" fmla="*/ 62 h 251"/>
                <a:gd name="T80" fmla="*/ 136 w 182"/>
                <a:gd name="T81" fmla="*/ 69 h 251"/>
                <a:gd name="T82" fmla="*/ 164 w 182"/>
                <a:gd name="T83" fmla="*/ 67 h 251"/>
                <a:gd name="T84" fmla="*/ 170 w 182"/>
                <a:gd name="T85" fmla="*/ 61 h 251"/>
                <a:gd name="T86" fmla="*/ 164 w 182"/>
                <a:gd name="T87" fmla="*/ 53 h 251"/>
                <a:gd name="T88" fmla="*/ 142 w 182"/>
                <a:gd name="T89" fmla="*/ 51 h 251"/>
                <a:gd name="T90" fmla="*/ 97 w 182"/>
                <a:gd name="T91" fmla="*/ 34 h 251"/>
                <a:gd name="T92" fmla="*/ 85 w 182"/>
                <a:gd name="T93" fmla="*/ 24 h 251"/>
                <a:gd name="T94" fmla="*/ 47 w 182"/>
                <a:gd name="T95" fmla="*/ 11 h 251"/>
                <a:gd name="T96" fmla="*/ 36 w 182"/>
                <a:gd name="T97" fmla="*/ 11 h 251"/>
                <a:gd name="T98" fmla="*/ 18 w 182"/>
                <a:gd name="T99" fmla="*/ 19 h 251"/>
                <a:gd name="T100" fmla="*/ 11 w 182"/>
                <a:gd name="T101" fmla="*/ 37 h 251"/>
                <a:gd name="T102" fmla="*/ 16 w 182"/>
                <a:gd name="T103" fmla="*/ 132 h 251"/>
                <a:gd name="T104" fmla="*/ 51 w 182"/>
                <a:gd name="T105" fmla="*/ 164 h 251"/>
                <a:gd name="T106" fmla="*/ 70 w 182"/>
                <a:gd name="T107" fmla="*/ 164 h 251"/>
                <a:gd name="T108" fmla="*/ 94 w 182"/>
                <a:gd name="T109" fmla="*/ 163 h 251"/>
                <a:gd name="T110" fmla="*/ 94 w 182"/>
                <a:gd name="T111" fmla="*/ 163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2" h="251">
                  <a:moveTo>
                    <a:pt x="132" y="251"/>
                  </a:moveTo>
                  <a:cubicBezTo>
                    <a:pt x="122" y="251"/>
                    <a:pt x="114" y="244"/>
                    <a:pt x="112" y="234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0"/>
                    <a:pt x="99" y="175"/>
                    <a:pt x="94" y="174"/>
                  </a:cubicBezTo>
                  <a:cubicBezTo>
                    <a:pt x="70" y="175"/>
                    <a:pt x="70" y="175"/>
                    <a:pt x="70" y="175"/>
                  </a:cubicBezTo>
                  <a:cubicBezTo>
                    <a:pt x="51" y="175"/>
                    <a:pt x="51" y="175"/>
                    <a:pt x="51" y="175"/>
                  </a:cubicBezTo>
                  <a:cubicBezTo>
                    <a:pt x="26" y="175"/>
                    <a:pt x="6" y="156"/>
                    <a:pt x="5" y="132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0" y="28"/>
                    <a:pt x="4" y="19"/>
                    <a:pt x="10" y="12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63" y="0"/>
                    <a:pt x="79" y="6"/>
                    <a:pt x="91" y="16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15" y="34"/>
                    <a:pt x="129" y="39"/>
                    <a:pt x="143" y="40"/>
                  </a:cubicBezTo>
                  <a:cubicBezTo>
                    <a:pt x="165" y="42"/>
                    <a:pt x="165" y="42"/>
                    <a:pt x="165" y="42"/>
                  </a:cubicBezTo>
                  <a:cubicBezTo>
                    <a:pt x="175" y="43"/>
                    <a:pt x="182" y="51"/>
                    <a:pt x="181" y="61"/>
                  </a:cubicBezTo>
                  <a:cubicBezTo>
                    <a:pt x="181" y="70"/>
                    <a:pt x="174" y="78"/>
                    <a:pt x="165" y="78"/>
                  </a:cubicBezTo>
                  <a:cubicBezTo>
                    <a:pt x="136" y="80"/>
                    <a:pt x="136" y="80"/>
                    <a:pt x="136" y="80"/>
                  </a:cubicBezTo>
                  <a:cubicBezTo>
                    <a:pt x="122" y="81"/>
                    <a:pt x="108" y="78"/>
                    <a:pt x="95" y="72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1" y="124"/>
                    <a:pt x="71" y="124"/>
                    <a:pt x="71" y="124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33" y="143"/>
                    <a:pt x="142" y="153"/>
                    <a:pt x="143" y="165"/>
                  </a:cubicBezTo>
                  <a:cubicBezTo>
                    <a:pt x="152" y="228"/>
                    <a:pt x="152" y="228"/>
                    <a:pt x="152" y="228"/>
                  </a:cubicBezTo>
                  <a:cubicBezTo>
                    <a:pt x="154" y="239"/>
                    <a:pt x="146" y="249"/>
                    <a:pt x="135" y="251"/>
                  </a:cubicBezTo>
                  <a:cubicBezTo>
                    <a:pt x="134" y="251"/>
                    <a:pt x="133" y="251"/>
                    <a:pt x="132" y="251"/>
                  </a:cubicBezTo>
                  <a:close/>
                  <a:moveTo>
                    <a:pt x="94" y="163"/>
                  </a:moveTo>
                  <a:cubicBezTo>
                    <a:pt x="94" y="163"/>
                    <a:pt x="95" y="164"/>
                    <a:pt x="95" y="164"/>
                  </a:cubicBezTo>
                  <a:cubicBezTo>
                    <a:pt x="105" y="165"/>
                    <a:pt x="114" y="173"/>
                    <a:pt x="115" y="184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24" y="237"/>
                    <a:pt x="128" y="241"/>
                    <a:pt x="133" y="240"/>
                  </a:cubicBezTo>
                  <a:cubicBezTo>
                    <a:pt x="138" y="239"/>
                    <a:pt x="142" y="235"/>
                    <a:pt x="141" y="230"/>
                  </a:cubicBezTo>
                  <a:cubicBezTo>
                    <a:pt x="133" y="167"/>
                    <a:pt x="133" y="167"/>
                    <a:pt x="133" y="167"/>
                  </a:cubicBezTo>
                  <a:cubicBezTo>
                    <a:pt x="132" y="159"/>
                    <a:pt x="126" y="153"/>
                    <a:pt x="119" y="150"/>
                  </a:cubicBezTo>
                  <a:cubicBezTo>
                    <a:pt x="63" y="134"/>
                    <a:pt x="63" y="134"/>
                    <a:pt x="63" y="134"/>
                  </a:cubicBezTo>
                  <a:cubicBezTo>
                    <a:pt x="61" y="133"/>
                    <a:pt x="59" y="131"/>
                    <a:pt x="59" y="128"/>
                  </a:cubicBezTo>
                  <a:cubicBezTo>
                    <a:pt x="64" y="54"/>
                    <a:pt x="64" y="54"/>
                    <a:pt x="64" y="54"/>
                  </a:cubicBezTo>
                  <a:cubicBezTo>
                    <a:pt x="65" y="52"/>
                    <a:pt x="66" y="51"/>
                    <a:pt x="67" y="50"/>
                  </a:cubicBezTo>
                  <a:cubicBezTo>
                    <a:pt x="69" y="49"/>
                    <a:pt x="71" y="49"/>
                    <a:pt x="72" y="50"/>
                  </a:cubicBezTo>
                  <a:cubicBezTo>
                    <a:pt x="99" y="62"/>
                    <a:pt x="99" y="62"/>
                    <a:pt x="99" y="62"/>
                  </a:cubicBezTo>
                  <a:cubicBezTo>
                    <a:pt x="111" y="68"/>
                    <a:pt x="123" y="70"/>
                    <a:pt x="136" y="69"/>
                  </a:cubicBezTo>
                  <a:cubicBezTo>
                    <a:pt x="164" y="67"/>
                    <a:pt x="164" y="67"/>
                    <a:pt x="164" y="67"/>
                  </a:cubicBezTo>
                  <a:cubicBezTo>
                    <a:pt x="167" y="67"/>
                    <a:pt x="170" y="64"/>
                    <a:pt x="170" y="61"/>
                  </a:cubicBezTo>
                  <a:cubicBezTo>
                    <a:pt x="171" y="57"/>
                    <a:pt x="168" y="53"/>
                    <a:pt x="164" y="53"/>
                  </a:cubicBezTo>
                  <a:cubicBezTo>
                    <a:pt x="142" y="51"/>
                    <a:pt x="142" y="51"/>
                    <a:pt x="142" y="51"/>
                  </a:cubicBezTo>
                  <a:cubicBezTo>
                    <a:pt x="126" y="50"/>
                    <a:pt x="110" y="44"/>
                    <a:pt x="97" y="34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74" y="16"/>
                    <a:pt x="60" y="11"/>
                    <a:pt x="47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9" y="11"/>
                    <a:pt x="23" y="14"/>
                    <a:pt x="18" y="19"/>
                  </a:cubicBezTo>
                  <a:cubicBezTo>
                    <a:pt x="14" y="24"/>
                    <a:pt x="11" y="31"/>
                    <a:pt x="11" y="37"/>
                  </a:cubicBezTo>
                  <a:cubicBezTo>
                    <a:pt x="16" y="132"/>
                    <a:pt x="16" y="132"/>
                    <a:pt x="16" y="132"/>
                  </a:cubicBezTo>
                  <a:cubicBezTo>
                    <a:pt x="17" y="150"/>
                    <a:pt x="32" y="164"/>
                    <a:pt x="51" y="164"/>
                  </a:cubicBezTo>
                  <a:cubicBezTo>
                    <a:pt x="70" y="164"/>
                    <a:pt x="70" y="164"/>
                    <a:pt x="70" y="164"/>
                  </a:cubicBezTo>
                  <a:cubicBezTo>
                    <a:pt x="94" y="163"/>
                    <a:pt x="94" y="163"/>
                    <a:pt x="94" y="163"/>
                  </a:cubicBezTo>
                  <a:cubicBezTo>
                    <a:pt x="94" y="163"/>
                    <a:pt x="94" y="163"/>
                    <a:pt x="94" y="1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5" name="Freeform 1572">
              <a:extLst>
                <a:ext uri="{FF2B5EF4-FFF2-40B4-BE49-F238E27FC236}">
                  <a16:creationId xmlns:a16="http://schemas.microsoft.com/office/drawing/2014/main" id="{06F997CA-3F8E-E3D6-D3E1-4F5C0FD5BAD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51317" y="2661615"/>
              <a:ext cx="136525" cy="200025"/>
            </a:xfrm>
            <a:custGeom>
              <a:avLst/>
              <a:gdLst>
                <a:gd name="T0" fmla="*/ 126 w 132"/>
                <a:gd name="T1" fmla="*/ 192 h 192"/>
                <a:gd name="T2" fmla="*/ 126 w 132"/>
                <a:gd name="T3" fmla="*/ 192 h 192"/>
                <a:gd name="T4" fmla="*/ 26 w 132"/>
                <a:gd name="T5" fmla="*/ 190 h 192"/>
                <a:gd name="T6" fmla="*/ 21 w 132"/>
                <a:gd name="T7" fmla="*/ 185 h 192"/>
                <a:gd name="T8" fmla="*/ 1 w 132"/>
                <a:gd name="T9" fmla="*/ 6 h 192"/>
                <a:gd name="T10" fmla="*/ 5 w 132"/>
                <a:gd name="T11" fmla="*/ 0 h 192"/>
                <a:gd name="T12" fmla="*/ 11 w 132"/>
                <a:gd name="T13" fmla="*/ 5 h 192"/>
                <a:gd name="T14" fmla="*/ 31 w 132"/>
                <a:gd name="T15" fmla="*/ 179 h 192"/>
                <a:gd name="T16" fmla="*/ 126 w 132"/>
                <a:gd name="T17" fmla="*/ 181 h 192"/>
                <a:gd name="T18" fmla="*/ 131 w 132"/>
                <a:gd name="T19" fmla="*/ 186 h 192"/>
                <a:gd name="T20" fmla="*/ 126 w 132"/>
                <a:gd name="T21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2" h="192">
                  <a:moveTo>
                    <a:pt x="126" y="192"/>
                  </a:moveTo>
                  <a:cubicBezTo>
                    <a:pt x="126" y="192"/>
                    <a:pt x="126" y="192"/>
                    <a:pt x="126" y="192"/>
                  </a:cubicBezTo>
                  <a:cubicBezTo>
                    <a:pt x="26" y="190"/>
                    <a:pt x="26" y="190"/>
                    <a:pt x="26" y="190"/>
                  </a:cubicBezTo>
                  <a:cubicBezTo>
                    <a:pt x="24" y="190"/>
                    <a:pt x="21" y="188"/>
                    <a:pt x="21" y="18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3"/>
                    <a:pt x="2" y="1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31" y="179"/>
                    <a:pt x="31" y="179"/>
                    <a:pt x="31" y="179"/>
                  </a:cubicBezTo>
                  <a:cubicBezTo>
                    <a:pt x="126" y="181"/>
                    <a:pt x="126" y="181"/>
                    <a:pt x="126" y="181"/>
                  </a:cubicBezTo>
                  <a:cubicBezTo>
                    <a:pt x="129" y="181"/>
                    <a:pt x="132" y="183"/>
                    <a:pt x="131" y="186"/>
                  </a:cubicBezTo>
                  <a:cubicBezTo>
                    <a:pt x="131" y="189"/>
                    <a:pt x="129" y="192"/>
                    <a:pt x="126" y="1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6" name="Freeform 1573">
              <a:extLst>
                <a:ext uri="{FF2B5EF4-FFF2-40B4-BE49-F238E27FC236}">
                  <a16:creationId xmlns:a16="http://schemas.microsoft.com/office/drawing/2014/main" id="{211EBCFB-4FA2-6B5E-8AE6-7B320AFC2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75117" y="2848939"/>
              <a:ext cx="11113" cy="71438"/>
            </a:xfrm>
            <a:custGeom>
              <a:avLst/>
              <a:gdLst>
                <a:gd name="T0" fmla="*/ 6 w 11"/>
                <a:gd name="T1" fmla="*/ 69 h 69"/>
                <a:gd name="T2" fmla="*/ 0 w 11"/>
                <a:gd name="T3" fmla="*/ 64 h 69"/>
                <a:gd name="T4" fmla="*/ 0 w 11"/>
                <a:gd name="T5" fmla="*/ 5 h 69"/>
                <a:gd name="T6" fmla="*/ 6 w 11"/>
                <a:gd name="T7" fmla="*/ 0 h 69"/>
                <a:gd name="T8" fmla="*/ 11 w 11"/>
                <a:gd name="T9" fmla="*/ 5 h 69"/>
                <a:gd name="T10" fmla="*/ 11 w 11"/>
                <a:gd name="T11" fmla="*/ 64 h 69"/>
                <a:gd name="T12" fmla="*/ 6 w 11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9">
                  <a:moveTo>
                    <a:pt x="6" y="69"/>
                  </a:moveTo>
                  <a:cubicBezTo>
                    <a:pt x="3" y="69"/>
                    <a:pt x="0" y="67"/>
                    <a:pt x="0" y="6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1" y="67"/>
                    <a:pt x="9" y="69"/>
                    <a:pt x="6" y="6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7" name="Freeform 1574">
              <a:extLst>
                <a:ext uri="{FF2B5EF4-FFF2-40B4-BE49-F238E27FC236}">
                  <a16:creationId xmlns:a16="http://schemas.microsoft.com/office/drawing/2014/main" id="{C4D2C966-CC0E-99BF-6ECF-FD16D91FD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03690" y="2909262"/>
              <a:ext cx="68263" cy="11113"/>
            </a:xfrm>
            <a:custGeom>
              <a:avLst/>
              <a:gdLst>
                <a:gd name="T0" fmla="*/ 60 w 66"/>
                <a:gd name="T1" fmla="*/ 11 h 11"/>
                <a:gd name="T2" fmla="*/ 5 w 66"/>
                <a:gd name="T3" fmla="*/ 11 h 11"/>
                <a:gd name="T4" fmla="*/ 0 w 66"/>
                <a:gd name="T5" fmla="*/ 6 h 11"/>
                <a:gd name="T6" fmla="*/ 5 w 66"/>
                <a:gd name="T7" fmla="*/ 0 h 11"/>
                <a:gd name="T8" fmla="*/ 60 w 66"/>
                <a:gd name="T9" fmla="*/ 0 h 11"/>
                <a:gd name="T10" fmla="*/ 66 w 66"/>
                <a:gd name="T11" fmla="*/ 6 h 11"/>
                <a:gd name="T12" fmla="*/ 60 w 66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1">
                  <a:moveTo>
                    <a:pt x="60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3" y="0"/>
                    <a:pt x="66" y="3"/>
                    <a:pt x="66" y="6"/>
                  </a:cubicBezTo>
                  <a:cubicBezTo>
                    <a:pt x="66" y="9"/>
                    <a:pt x="63" y="11"/>
                    <a:pt x="6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8" name="Freeform 1575">
              <a:extLst>
                <a:ext uri="{FF2B5EF4-FFF2-40B4-BE49-F238E27FC236}">
                  <a16:creationId xmlns:a16="http://schemas.microsoft.com/office/drawing/2014/main" id="{77589C35-8665-BD7C-F2B3-F24D04150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87802" y="2771150"/>
              <a:ext cx="11113" cy="49213"/>
            </a:xfrm>
            <a:custGeom>
              <a:avLst/>
              <a:gdLst>
                <a:gd name="T0" fmla="*/ 6 w 11"/>
                <a:gd name="T1" fmla="*/ 47 h 47"/>
                <a:gd name="T2" fmla="*/ 0 w 11"/>
                <a:gd name="T3" fmla="*/ 41 h 47"/>
                <a:gd name="T4" fmla="*/ 0 w 11"/>
                <a:gd name="T5" fmla="*/ 6 h 47"/>
                <a:gd name="T6" fmla="*/ 6 w 11"/>
                <a:gd name="T7" fmla="*/ 0 h 47"/>
                <a:gd name="T8" fmla="*/ 11 w 11"/>
                <a:gd name="T9" fmla="*/ 6 h 47"/>
                <a:gd name="T10" fmla="*/ 11 w 11"/>
                <a:gd name="T11" fmla="*/ 41 h 47"/>
                <a:gd name="T12" fmla="*/ 6 w 11"/>
                <a:gd name="T1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7">
                  <a:moveTo>
                    <a:pt x="6" y="47"/>
                  </a:moveTo>
                  <a:cubicBezTo>
                    <a:pt x="3" y="47"/>
                    <a:pt x="0" y="44"/>
                    <a:pt x="0" y="4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1" y="44"/>
                    <a:pt x="9" y="47"/>
                    <a:pt x="6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9" name="Freeform 1576">
              <a:extLst>
                <a:ext uri="{FF2B5EF4-FFF2-40B4-BE49-F238E27FC236}">
                  <a16:creationId xmlns:a16="http://schemas.microsoft.com/office/drawing/2014/main" id="{62EF3977-7B0E-F8C1-429B-DFE6594D8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87802" y="2771148"/>
              <a:ext cx="141288" cy="146049"/>
            </a:xfrm>
            <a:custGeom>
              <a:avLst/>
              <a:gdLst>
                <a:gd name="T0" fmla="*/ 130 w 135"/>
                <a:gd name="T1" fmla="*/ 141 h 141"/>
                <a:gd name="T2" fmla="*/ 124 w 135"/>
                <a:gd name="T3" fmla="*/ 136 h 141"/>
                <a:gd name="T4" fmla="*/ 124 w 135"/>
                <a:gd name="T5" fmla="*/ 11 h 141"/>
                <a:gd name="T6" fmla="*/ 6 w 135"/>
                <a:gd name="T7" fmla="*/ 11 h 141"/>
                <a:gd name="T8" fmla="*/ 0 w 135"/>
                <a:gd name="T9" fmla="*/ 6 h 141"/>
                <a:gd name="T10" fmla="*/ 6 w 135"/>
                <a:gd name="T11" fmla="*/ 0 h 141"/>
                <a:gd name="T12" fmla="*/ 130 w 135"/>
                <a:gd name="T13" fmla="*/ 0 h 141"/>
                <a:gd name="T14" fmla="*/ 135 w 135"/>
                <a:gd name="T15" fmla="*/ 6 h 141"/>
                <a:gd name="T16" fmla="*/ 135 w 135"/>
                <a:gd name="T17" fmla="*/ 136 h 141"/>
                <a:gd name="T18" fmla="*/ 130 w 135"/>
                <a:gd name="T19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" h="141">
                  <a:moveTo>
                    <a:pt x="130" y="141"/>
                  </a:moveTo>
                  <a:cubicBezTo>
                    <a:pt x="127" y="141"/>
                    <a:pt x="124" y="139"/>
                    <a:pt x="124" y="136"/>
                  </a:cubicBezTo>
                  <a:cubicBezTo>
                    <a:pt x="124" y="11"/>
                    <a:pt x="124" y="11"/>
                    <a:pt x="124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33" y="0"/>
                    <a:pt x="135" y="3"/>
                    <a:pt x="135" y="6"/>
                  </a:cubicBezTo>
                  <a:cubicBezTo>
                    <a:pt x="135" y="136"/>
                    <a:pt x="135" y="136"/>
                    <a:pt x="135" y="136"/>
                  </a:cubicBezTo>
                  <a:cubicBezTo>
                    <a:pt x="135" y="139"/>
                    <a:pt x="133" y="141"/>
                    <a:pt x="130" y="1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0" name="Freeform 1577">
              <a:extLst>
                <a:ext uri="{FF2B5EF4-FFF2-40B4-BE49-F238E27FC236}">
                  <a16:creationId xmlns:a16="http://schemas.microsoft.com/office/drawing/2014/main" id="{5B7C35EE-437F-7B55-8E51-37B843061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97333" y="2771148"/>
              <a:ext cx="161925" cy="11113"/>
            </a:xfrm>
            <a:custGeom>
              <a:avLst/>
              <a:gdLst>
                <a:gd name="T0" fmla="*/ 150 w 155"/>
                <a:gd name="T1" fmla="*/ 11 h 11"/>
                <a:gd name="T2" fmla="*/ 5 w 155"/>
                <a:gd name="T3" fmla="*/ 11 h 11"/>
                <a:gd name="T4" fmla="*/ 0 w 155"/>
                <a:gd name="T5" fmla="*/ 6 h 11"/>
                <a:gd name="T6" fmla="*/ 5 w 155"/>
                <a:gd name="T7" fmla="*/ 0 h 11"/>
                <a:gd name="T8" fmla="*/ 150 w 155"/>
                <a:gd name="T9" fmla="*/ 0 h 11"/>
                <a:gd name="T10" fmla="*/ 155 w 155"/>
                <a:gd name="T11" fmla="*/ 6 h 11"/>
                <a:gd name="T12" fmla="*/ 150 w 155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11">
                  <a:moveTo>
                    <a:pt x="150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3" y="0"/>
                    <a:pt x="155" y="3"/>
                    <a:pt x="155" y="6"/>
                  </a:cubicBezTo>
                  <a:cubicBezTo>
                    <a:pt x="155" y="9"/>
                    <a:pt x="153" y="11"/>
                    <a:pt x="15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1" name="Freeform 1578">
              <a:extLst>
                <a:ext uri="{FF2B5EF4-FFF2-40B4-BE49-F238E27FC236}">
                  <a16:creationId xmlns:a16="http://schemas.microsoft.com/office/drawing/2014/main" id="{B33CE519-1451-F6AD-6A9C-6A2F5460BC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049712" y="2709243"/>
              <a:ext cx="120650" cy="73025"/>
            </a:xfrm>
            <a:custGeom>
              <a:avLst/>
              <a:gdLst>
                <a:gd name="T0" fmla="*/ 82 w 116"/>
                <a:gd name="T1" fmla="*/ 71 h 71"/>
                <a:gd name="T2" fmla="*/ 6 w 116"/>
                <a:gd name="T3" fmla="*/ 71 h 71"/>
                <a:gd name="T4" fmla="*/ 1 w 116"/>
                <a:gd name="T5" fmla="*/ 69 h 71"/>
                <a:gd name="T6" fmla="*/ 1 w 116"/>
                <a:gd name="T7" fmla="*/ 63 h 71"/>
                <a:gd name="T8" fmla="*/ 29 w 116"/>
                <a:gd name="T9" fmla="*/ 3 h 71"/>
                <a:gd name="T10" fmla="*/ 34 w 116"/>
                <a:gd name="T11" fmla="*/ 0 h 71"/>
                <a:gd name="T12" fmla="*/ 110 w 116"/>
                <a:gd name="T13" fmla="*/ 0 h 71"/>
                <a:gd name="T14" fmla="*/ 115 w 116"/>
                <a:gd name="T15" fmla="*/ 3 h 71"/>
                <a:gd name="T16" fmla="*/ 115 w 116"/>
                <a:gd name="T17" fmla="*/ 8 h 71"/>
                <a:gd name="T18" fmla="*/ 87 w 116"/>
                <a:gd name="T19" fmla="*/ 68 h 71"/>
                <a:gd name="T20" fmla="*/ 82 w 116"/>
                <a:gd name="T21" fmla="*/ 71 h 71"/>
                <a:gd name="T22" fmla="*/ 15 w 116"/>
                <a:gd name="T23" fmla="*/ 60 h 71"/>
                <a:gd name="T24" fmla="*/ 78 w 116"/>
                <a:gd name="T25" fmla="*/ 60 h 71"/>
                <a:gd name="T26" fmla="*/ 101 w 116"/>
                <a:gd name="T27" fmla="*/ 11 h 71"/>
                <a:gd name="T28" fmla="*/ 38 w 116"/>
                <a:gd name="T29" fmla="*/ 11 h 71"/>
                <a:gd name="T30" fmla="*/ 15 w 116"/>
                <a:gd name="T31" fmla="*/ 6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6" h="71">
                  <a:moveTo>
                    <a:pt x="82" y="71"/>
                  </a:moveTo>
                  <a:cubicBezTo>
                    <a:pt x="6" y="71"/>
                    <a:pt x="6" y="71"/>
                    <a:pt x="6" y="71"/>
                  </a:cubicBezTo>
                  <a:cubicBezTo>
                    <a:pt x="4" y="71"/>
                    <a:pt x="2" y="70"/>
                    <a:pt x="1" y="69"/>
                  </a:cubicBezTo>
                  <a:cubicBezTo>
                    <a:pt x="0" y="67"/>
                    <a:pt x="0" y="65"/>
                    <a:pt x="1" y="6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30" y="1"/>
                    <a:pt x="32" y="0"/>
                    <a:pt x="34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2" y="0"/>
                    <a:pt x="114" y="1"/>
                    <a:pt x="115" y="3"/>
                  </a:cubicBezTo>
                  <a:cubicBezTo>
                    <a:pt x="116" y="4"/>
                    <a:pt x="116" y="6"/>
                    <a:pt x="115" y="8"/>
                  </a:cubicBezTo>
                  <a:cubicBezTo>
                    <a:pt x="87" y="68"/>
                    <a:pt x="87" y="68"/>
                    <a:pt x="87" y="68"/>
                  </a:cubicBezTo>
                  <a:cubicBezTo>
                    <a:pt x="86" y="70"/>
                    <a:pt x="84" y="71"/>
                    <a:pt x="82" y="71"/>
                  </a:cubicBezTo>
                  <a:close/>
                  <a:moveTo>
                    <a:pt x="15" y="60"/>
                  </a:moveTo>
                  <a:cubicBezTo>
                    <a:pt x="78" y="60"/>
                    <a:pt x="78" y="60"/>
                    <a:pt x="78" y="60"/>
                  </a:cubicBezTo>
                  <a:cubicBezTo>
                    <a:pt x="101" y="11"/>
                    <a:pt x="101" y="11"/>
                    <a:pt x="101" y="11"/>
                  </a:cubicBezTo>
                  <a:cubicBezTo>
                    <a:pt x="38" y="11"/>
                    <a:pt x="38" y="11"/>
                    <a:pt x="38" y="11"/>
                  </a:cubicBezTo>
                  <a:lnTo>
                    <a:pt x="15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02" name="Shape67_20200717_142846">
            <a:extLst>
              <a:ext uri="{FF2B5EF4-FFF2-40B4-BE49-F238E27FC236}">
                <a16:creationId xmlns:a16="http://schemas.microsoft.com/office/drawing/2014/main" id="{99DD04BB-6E12-9D8D-FFBE-A5C2062D80D3}"/>
              </a:ext>
            </a:extLst>
          </p:cNvPr>
          <p:cNvGrpSpPr>
            <a:grpSpLocks noChangeAspect="1"/>
          </p:cNvGrpSpPr>
          <p:nvPr/>
        </p:nvGrpSpPr>
        <p:grpSpPr>
          <a:xfrm>
            <a:off x="4536088" y="5164346"/>
            <a:ext cx="508632" cy="551739"/>
            <a:chOff x="-2724151" y="2889246"/>
            <a:chExt cx="336595" cy="365128"/>
          </a:xfrm>
          <a:solidFill>
            <a:schemeClr val="accent1"/>
          </a:solidFill>
        </p:grpSpPr>
        <p:sp>
          <p:nvSpPr>
            <p:cNvPr id="203" name="Freeform 471">
              <a:extLst>
                <a:ext uri="{FF2B5EF4-FFF2-40B4-BE49-F238E27FC236}">
                  <a16:creationId xmlns:a16="http://schemas.microsoft.com/office/drawing/2014/main" id="{4B4D7488-9271-9039-6B54-271F3E3C1E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00278" y="3044823"/>
              <a:ext cx="212721" cy="133350"/>
            </a:xfrm>
            <a:custGeom>
              <a:avLst/>
              <a:gdLst>
                <a:gd name="T0" fmla="*/ 47 w 94"/>
                <a:gd name="T1" fmla="*/ 59 h 59"/>
                <a:gd name="T2" fmla="*/ 14 w 94"/>
                <a:gd name="T3" fmla="*/ 51 h 59"/>
                <a:gd name="T4" fmla="*/ 0 w 94"/>
                <a:gd name="T5" fmla="*/ 30 h 59"/>
                <a:gd name="T6" fmla="*/ 14 w 94"/>
                <a:gd name="T7" fmla="*/ 10 h 59"/>
                <a:gd name="T8" fmla="*/ 80 w 94"/>
                <a:gd name="T9" fmla="*/ 10 h 59"/>
                <a:gd name="T10" fmla="*/ 94 w 94"/>
                <a:gd name="T11" fmla="*/ 30 h 59"/>
                <a:gd name="T12" fmla="*/ 80 w 94"/>
                <a:gd name="T13" fmla="*/ 51 h 59"/>
                <a:gd name="T14" fmla="*/ 47 w 94"/>
                <a:gd name="T15" fmla="*/ 59 h 59"/>
                <a:gd name="T16" fmla="*/ 47 w 94"/>
                <a:gd name="T17" fmla="*/ 7 h 59"/>
                <a:gd name="T18" fmla="*/ 17 w 94"/>
                <a:gd name="T19" fmla="*/ 14 h 59"/>
                <a:gd name="T20" fmla="*/ 5 w 94"/>
                <a:gd name="T21" fmla="*/ 30 h 59"/>
                <a:gd name="T22" fmla="*/ 17 w 94"/>
                <a:gd name="T23" fmla="*/ 47 h 59"/>
                <a:gd name="T24" fmla="*/ 78 w 94"/>
                <a:gd name="T25" fmla="*/ 47 h 59"/>
                <a:gd name="T26" fmla="*/ 89 w 94"/>
                <a:gd name="T27" fmla="*/ 30 h 59"/>
                <a:gd name="T28" fmla="*/ 78 w 94"/>
                <a:gd name="T29" fmla="*/ 14 h 59"/>
                <a:gd name="T30" fmla="*/ 47 w 94"/>
                <a:gd name="T31" fmla="*/ 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4" h="59">
                  <a:moveTo>
                    <a:pt x="47" y="59"/>
                  </a:moveTo>
                  <a:cubicBezTo>
                    <a:pt x="35" y="59"/>
                    <a:pt x="23" y="56"/>
                    <a:pt x="14" y="51"/>
                  </a:cubicBezTo>
                  <a:cubicBezTo>
                    <a:pt x="5" y="46"/>
                    <a:pt x="0" y="38"/>
                    <a:pt x="0" y="30"/>
                  </a:cubicBezTo>
                  <a:cubicBezTo>
                    <a:pt x="0" y="23"/>
                    <a:pt x="5" y="15"/>
                    <a:pt x="14" y="10"/>
                  </a:cubicBezTo>
                  <a:cubicBezTo>
                    <a:pt x="32" y="0"/>
                    <a:pt x="62" y="0"/>
                    <a:pt x="80" y="10"/>
                  </a:cubicBezTo>
                  <a:cubicBezTo>
                    <a:pt x="89" y="15"/>
                    <a:pt x="94" y="23"/>
                    <a:pt x="94" y="30"/>
                  </a:cubicBezTo>
                  <a:cubicBezTo>
                    <a:pt x="94" y="38"/>
                    <a:pt x="89" y="46"/>
                    <a:pt x="80" y="51"/>
                  </a:cubicBezTo>
                  <a:cubicBezTo>
                    <a:pt x="71" y="56"/>
                    <a:pt x="59" y="59"/>
                    <a:pt x="47" y="59"/>
                  </a:cubicBezTo>
                  <a:close/>
                  <a:moveTo>
                    <a:pt x="47" y="7"/>
                  </a:moveTo>
                  <a:cubicBezTo>
                    <a:pt x="36" y="7"/>
                    <a:pt x="25" y="10"/>
                    <a:pt x="17" y="14"/>
                  </a:cubicBezTo>
                  <a:cubicBezTo>
                    <a:pt x="9" y="19"/>
                    <a:pt x="5" y="24"/>
                    <a:pt x="5" y="30"/>
                  </a:cubicBezTo>
                  <a:cubicBezTo>
                    <a:pt x="5" y="36"/>
                    <a:pt x="9" y="42"/>
                    <a:pt x="17" y="47"/>
                  </a:cubicBezTo>
                  <a:cubicBezTo>
                    <a:pt x="33" y="56"/>
                    <a:pt x="61" y="56"/>
                    <a:pt x="78" y="47"/>
                  </a:cubicBezTo>
                  <a:cubicBezTo>
                    <a:pt x="85" y="42"/>
                    <a:pt x="89" y="36"/>
                    <a:pt x="89" y="30"/>
                  </a:cubicBezTo>
                  <a:cubicBezTo>
                    <a:pt x="89" y="24"/>
                    <a:pt x="85" y="19"/>
                    <a:pt x="78" y="14"/>
                  </a:cubicBezTo>
                  <a:cubicBezTo>
                    <a:pt x="69" y="10"/>
                    <a:pt x="58" y="7"/>
                    <a:pt x="4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4" name="Freeform 472">
              <a:extLst>
                <a:ext uri="{FF2B5EF4-FFF2-40B4-BE49-F238E27FC236}">
                  <a16:creationId xmlns:a16="http://schemas.microsoft.com/office/drawing/2014/main" id="{ACC43BF7-36F4-2748-9BE5-E2853DF445D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00278" y="3146423"/>
              <a:ext cx="212721" cy="69850"/>
            </a:xfrm>
            <a:custGeom>
              <a:avLst/>
              <a:gdLst>
                <a:gd name="T0" fmla="*/ 47 w 94"/>
                <a:gd name="T1" fmla="*/ 31 h 31"/>
                <a:gd name="T2" fmla="*/ 14 w 94"/>
                <a:gd name="T3" fmla="*/ 23 h 31"/>
                <a:gd name="T4" fmla="*/ 0 w 94"/>
                <a:gd name="T5" fmla="*/ 2 h 31"/>
                <a:gd name="T6" fmla="*/ 2 w 94"/>
                <a:gd name="T7" fmla="*/ 0 h 31"/>
                <a:gd name="T8" fmla="*/ 5 w 94"/>
                <a:gd name="T9" fmla="*/ 2 h 31"/>
                <a:gd name="T10" fmla="*/ 17 w 94"/>
                <a:gd name="T11" fmla="*/ 19 h 31"/>
                <a:gd name="T12" fmla="*/ 78 w 94"/>
                <a:gd name="T13" fmla="*/ 19 h 31"/>
                <a:gd name="T14" fmla="*/ 89 w 94"/>
                <a:gd name="T15" fmla="*/ 3 h 31"/>
                <a:gd name="T16" fmla="*/ 92 w 94"/>
                <a:gd name="T17" fmla="*/ 0 h 31"/>
                <a:gd name="T18" fmla="*/ 94 w 94"/>
                <a:gd name="T19" fmla="*/ 3 h 31"/>
                <a:gd name="T20" fmla="*/ 80 w 94"/>
                <a:gd name="T21" fmla="*/ 23 h 31"/>
                <a:gd name="T22" fmla="*/ 47 w 94"/>
                <a:gd name="T2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31">
                  <a:moveTo>
                    <a:pt x="47" y="31"/>
                  </a:moveTo>
                  <a:cubicBezTo>
                    <a:pt x="35" y="31"/>
                    <a:pt x="23" y="28"/>
                    <a:pt x="14" y="23"/>
                  </a:cubicBezTo>
                  <a:cubicBezTo>
                    <a:pt x="5" y="18"/>
                    <a:pt x="0" y="10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8"/>
                    <a:pt x="9" y="14"/>
                    <a:pt x="17" y="19"/>
                  </a:cubicBezTo>
                  <a:cubicBezTo>
                    <a:pt x="33" y="29"/>
                    <a:pt x="61" y="29"/>
                    <a:pt x="78" y="19"/>
                  </a:cubicBezTo>
                  <a:cubicBezTo>
                    <a:pt x="85" y="14"/>
                    <a:pt x="89" y="9"/>
                    <a:pt x="89" y="3"/>
                  </a:cubicBezTo>
                  <a:cubicBezTo>
                    <a:pt x="89" y="1"/>
                    <a:pt x="91" y="0"/>
                    <a:pt x="92" y="0"/>
                  </a:cubicBezTo>
                  <a:cubicBezTo>
                    <a:pt x="93" y="0"/>
                    <a:pt x="94" y="1"/>
                    <a:pt x="94" y="3"/>
                  </a:cubicBezTo>
                  <a:cubicBezTo>
                    <a:pt x="94" y="11"/>
                    <a:pt x="89" y="18"/>
                    <a:pt x="80" y="23"/>
                  </a:cubicBezTo>
                  <a:cubicBezTo>
                    <a:pt x="71" y="28"/>
                    <a:pt x="59" y="31"/>
                    <a:pt x="47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5" name="Freeform 473">
              <a:extLst>
                <a:ext uri="{FF2B5EF4-FFF2-40B4-BE49-F238E27FC236}">
                  <a16:creationId xmlns:a16="http://schemas.microsoft.com/office/drawing/2014/main" id="{86FFDB39-0544-7197-DBE8-81822F9E5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00278" y="3108323"/>
              <a:ext cx="11113" cy="49213"/>
            </a:xfrm>
            <a:custGeom>
              <a:avLst/>
              <a:gdLst>
                <a:gd name="T0" fmla="*/ 2 w 5"/>
                <a:gd name="T1" fmla="*/ 22 h 22"/>
                <a:gd name="T2" fmla="*/ 0 w 5"/>
                <a:gd name="T3" fmla="*/ 20 h 22"/>
                <a:gd name="T4" fmla="*/ 0 w 5"/>
                <a:gd name="T5" fmla="*/ 3 h 22"/>
                <a:gd name="T6" fmla="*/ 2 w 5"/>
                <a:gd name="T7" fmla="*/ 0 h 22"/>
                <a:gd name="T8" fmla="*/ 5 w 5"/>
                <a:gd name="T9" fmla="*/ 3 h 22"/>
                <a:gd name="T10" fmla="*/ 5 w 5"/>
                <a:gd name="T11" fmla="*/ 20 h 22"/>
                <a:gd name="T12" fmla="*/ 2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2" y="22"/>
                  </a:moveTo>
                  <a:cubicBezTo>
                    <a:pt x="1" y="22"/>
                    <a:pt x="0" y="21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4" y="22"/>
                    <a:pt x="2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6" name="Freeform 474">
              <a:extLst>
                <a:ext uri="{FF2B5EF4-FFF2-40B4-BE49-F238E27FC236}">
                  <a16:creationId xmlns:a16="http://schemas.microsoft.com/office/drawing/2014/main" id="{CBE1EE76-C8F9-276C-CDE3-5B87D3CD7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398669" y="3108323"/>
              <a:ext cx="11113" cy="49213"/>
            </a:xfrm>
            <a:custGeom>
              <a:avLst/>
              <a:gdLst>
                <a:gd name="T0" fmla="*/ 3 w 5"/>
                <a:gd name="T1" fmla="*/ 22 h 22"/>
                <a:gd name="T2" fmla="*/ 0 w 5"/>
                <a:gd name="T3" fmla="*/ 20 h 22"/>
                <a:gd name="T4" fmla="*/ 0 w 5"/>
                <a:gd name="T5" fmla="*/ 3 h 22"/>
                <a:gd name="T6" fmla="*/ 3 w 5"/>
                <a:gd name="T7" fmla="*/ 0 h 22"/>
                <a:gd name="T8" fmla="*/ 5 w 5"/>
                <a:gd name="T9" fmla="*/ 3 h 22"/>
                <a:gd name="T10" fmla="*/ 5 w 5"/>
                <a:gd name="T11" fmla="*/ 20 h 22"/>
                <a:gd name="T12" fmla="*/ 3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3" y="22"/>
                  </a:moveTo>
                  <a:cubicBezTo>
                    <a:pt x="2" y="22"/>
                    <a:pt x="0" y="21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4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7" name="Freeform 475">
              <a:extLst>
                <a:ext uri="{FF2B5EF4-FFF2-40B4-BE49-F238E27FC236}">
                  <a16:creationId xmlns:a16="http://schemas.microsoft.com/office/drawing/2014/main" id="{B54523C0-4AAA-670E-23FD-03132FACC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00278" y="3184524"/>
              <a:ext cx="212721" cy="69850"/>
            </a:xfrm>
            <a:custGeom>
              <a:avLst/>
              <a:gdLst>
                <a:gd name="T0" fmla="*/ 47 w 94"/>
                <a:gd name="T1" fmla="*/ 31 h 31"/>
                <a:gd name="T2" fmla="*/ 14 w 94"/>
                <a:gd name="T3" fmla="*/ 23 h 31"/>
                <a:gd name="T4" fmla="*/ 0 w 94"/>
                <a:gd name="T5" fmla="*/ 2 h 31"/>
                <a:gd name="T6" fmla="*/ 2 w 94"/>
                <a:gd name="T7" fmla="*/ 0 h 31"/>
                <a:gd name="T8" fmla="*/ 5 w 94"/>
                <a:gd name="T9" fmla="*/ 2 h 31"/>
                <a:gd name="T10" fmla="*/ 17 w 94"/>
                <a:gd name="T11" fmla="*/ 19 h 31"/>
                <a:gd name="T12" fmla="*/ 78 w 94"/>
                <a:gd name="T13" fmla="*/ 19 h 31"/>
                <a:gd name="T14" fmla="*/ 89 w 94"/>
                <a:gd name="T15" fmla="*/ 3 h 31"/>
                <a:gd name="T16" fmla="*/ 92 w 94"/>
                <a:gd name="T17" fmla="*/ 0 h 31"/>
                <a:gd name="T18" fmla="*/ 94 w 94"/>
                <a:gd name="T19" fmla="*/ 3 h 31"/>
                <a:gd name="T20" fmla="*/ 80 w 94"/>
                <a:gd name="T21" fmla="*/ 23 h 31"/>
                <a:gd name="T22" fmla="*/ 47 w 94"/>
                <a:gd name="T2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31">
                  <a:moveTo>
                    <a:pt x="47" y="31"/>
                  </a:moveTo>
                  <a:cubicBezTo>
                    <a:pt x="35" y="31"/>
                    <a:pt x="23" y="29"/>
                    <a:pt x="14" y="23"/>
                  </a:cubicBezTo>
                  <a:cubicBezTo>
                    <a:pt x="5" y="18"/>
                    <a:pt x="0" y="10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9"/>
                    <a:pt x="9" y="15"/>
                    <a:pt x="17" y="19"/>
                  </a:cubicBezTo>
                  <a:cubicBezTo>
                    <a:pt x="33" y="29"/>
                    <a:pt x="61" y="29"/>
                    <a:pt x="78" y="19"/>
                  </a:cubicBezTo>
                  <a:cubicBezTo>
                    <a:pt x="85" y="15"/>
                    <a:pt x="89" y="9"/>
                    <a:pt x="89" y="3"/>
                  </a:cubicBezTo>
                  <a:cubicBezTo>
                    <a:pt x="89" y="2"/>
                    <a:pt x="91" y="0"/>
                    <a:pt x="92" y="0"/>
                  </a:cubicBezTo>
                  <a:cubicBezTo>
                    <a:pt x="93" y="0"/>
                    <a:pt x="94" y="2"/>
                    <a:pt x="94" y="3"/>
                  </a:cubicBezTo>
                  <a:cubicBezTo>
                    <a:pt x="94" y="11"/>
                    <a:pt x="89" y="18"/>
                    <a:pt x="80" y="23"/>
                  </a:cubicBezTo>
                  <a:cubicBezTo>
                    <a:pt x="71" y="29"/>
                    <a:pt x="59" y="31"/>
                    <a:pt x="47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8" name="Freeform 476">
              <a:extLst>
                <a:ext uri="{FF2B5EF4-FFF2-40B4-BE49-F238E27FC236}">
                  <a16:creationId xmlns:a16="http://schemas.microsoft.com/office/drawing/2014/main" id="{2281298B-3678-7EBB-2535-DFE0F8E1E47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00278" y="3148011"/>
              <a:ext cx="11113" cy="50800"/>
            </a:xfrm>
            <a:custGeom>
              <a:avLst/>
              <a:gdLst>
                <a:gd name="T0" fmla="*/ 2 w 5"/>
                <a:gd name="T1" fmla="*/ 22 h 22"/>
                <a:gd name="T2" fmla="*/ 0 w 5"/>
                <a:gd name="T3" fmla="*/ 19 h 22"/>
                <a:gd name="T4" fmla="*/ 0 w 5"/>
                <a:gd name="T5" fmla="*/ 2 h 22"/>
                <a:gd name="T6" fmla="*/ 2 w 5"/>
                <a:gd name="T7" fmla="*/ 0 h 22"/>
                <a:gd name="T8" fmla="*/ 5 w 5"/>
                <a:gd name="T9" fmla="*/ 2 h 22"/>
                <a:gd name="T10" fmla="*/ 5 w 5"/>
                <a:gd name="T11" fmla="*/ 19 h 22"/>
                <a:gd name="T12" fmla="*/ 2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2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1"/>
                    <a:pt x="4" y="22"/>
                    <a:pt x="2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9" name="Freeform 477">
              <a:extLst>
                <a:ext uri="{FF2B5EF4-FFF2-40B4-BE49-F238E27FC236}">
                  <a16:creationId xmlns:a16="http://schemas.microsoft.com/office/drawing/2014/main" id="{8FAEEC82-D7E4-8974-02D3-89EE919853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398669" y="3148011"/>
              <a:ext cx="11113" cy="50800"/>
            </a:xfrm>
            <a:custGeom>
              <a:avLst/>
              <a:gdLst>
                <a:gd name="T0" fmla="*/ 3 w 5"/>
                <a:gd name="T1" fmla="*/ 22 h 22"/>
                <a:gd name="T2" fmla="*/ 0 w 5"/>
                <a:gd name="T3" fmla="*/ 19 h 22"/>
                <a:gd name="T4" fmla="*/ 0 w 5"/>
                <a:gd name="T5" fmla="*/ 2 h 22"/>
                <a:gd name="T6" fmla="*/ 3 w 5"/>
                <a:gd name="T7" fmla="*/ 0 h 22"/>
                <a:gd name="T8" fmla="*/ 5 w 5"/>
                <a:gd name="T9" fmla="*/ 2 h 22"/>
                <a:gd name="T10" fmla="*/ 5 w 5"/>
                <a:gd name="T11" fmla="*/ 19 h 22"/>
                <a:gd name="T12" fmla="*/ 3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3" y="22"/>
                  </a:moveTo>
                  <a:cubicBezTo>
                    <a:pt x="2" y="22"/>
                    <a:pt x="0" y="21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1"/>
                    <a:pt x="4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0" name="Freeform 478">
              <a:extLst>
                <a:ext uri="{FF2B5EF4-FFF2-40B4-BE49-F238E27FC236}">
                  <a16:creationId xmlns:a16="http://schemas.microsoft.com/office/drawing/2014/main" id="{7CF5A342-59AD-6A85-0EB1-5E680BE4AB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24101" y="2889246"/>
              <a:ext cx="214309" cy="133350"/>
            </a:xfrm>
            <a:custGeom>
              <a:avLst/>
              <a:gdLst>
                <a:gd name="T0" fmla="*/ 48 w 95"/>
                <a:gd name="T1" fmla="*/ 59 h 59"/>
                <a:gd name="T2" fmla="*/ 15 w 95"/>
                <a:gd name="T3" fmla="*/ 51 h 59"/>
                <a:gd name="T4" fmla="*/ 0 w 95"/>
                <a:gd name="T5" fmla="*/ 31 h 59"/>
                <a:gd name="T6" fmla="*/ 15 w 95"/>
                <a:gd name="T7" fmla="*/ 10 h 59"/>
                <a:gd name="T8" fmla="*/ 80 w 95"/>
                <a:gd name="T9" fmla="*/ 10 h 59"/>
                <a:gd name="T10" fmla="*/ 95 w 95"/>
                <a:gd name="T11" fmla="*/ 31 h 59"/>
                <a:gd name="T12" fmla="*/ 80 w 95"/>
                <a:gd name="T13" fmla="*/ 51 h 59"/>
                <a:gd name="T14" fmla="*/ 48 w 95"/>
                <a:gd name="T15" fmla="*/ 59 h 59"/>
                <a:gd name="T16" fmla="*/ 48 w 95"/>
                <a:gd name="T17" fmla="*/ 7 h 59"/>
                <a:gd name="T18" fmla="*/ 17 w 95"/>
                <a:gd name="T19" fmla="*/ 15 h 59"/>
                <a:gd name="T20" fmla="*/ 5 w 95"/>
                <a:gd name="T21" fmla="*/ 31 h 59"/>
                <a:gd name="T22" fmla="*/ 17 w 95"/>
                <a:gd name="T23" fmla="*/ 47 h 59"/>
                <a:gd name="T24" fmla="*/ 78 w 95"/>
                <a:gd name="T25" fmla="*/ 47 h 59"/>
                <a:gd name="T26" fmla="*/ 90 w 95"/>
                <a:gd name="T27" fmla="*/ 31 h 59"/>
                <a:gd name="T28" fmla="*/ 78 w 95"/>
                <a:gd name="T29" fmla="*/ 15 h 59"/>
                <a:gd name="T30" fmla="*/ 78 w 95"/>
                <a:gd name="T31" fmla="*/ 15 h 59"/>
                <a:gd name="T32" fmla="*/ 48 w 95"/>
                <a:gd name="T33" fmla="*/ 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59">
                  <a:moveTo>
                    <a:pt x="48" y="59"/>
                  </a:moveTo>
                  <a:cubicBezTo>
                    <a:pt x="36" y="59"/>
                    <a:pt x="24" y="56"/>
                    <a:pt x="15" y="51"/>
                  </a:cubicBezTo>
                  <a:cubicBezTo>
                    <a:pt x="5" y="46"/>
                    <a:pt x="0" y="39"/>
                    <a:pt x="0" y="31"/>
                  </a:cubicBezTo>
                  <a:cubicBezTo>
                    <a:pt x="0" y="23"/>
                    <a:pt x="5" y="16"/>
                    <a:pt x="15" y="10"/>
                  </a:cubicBezTo>
                  <a:cubicBezTo>
                    <a:pt x="33" y="0"/>
                    <a:pt x="62" y="0"/>
                    <a:pt x="80" y="10"/>
                  </a:cubicBezTo>
                  <a:cubicBezTo>
                    <a:pt x="90" y="16"/>
                    <a:pt x="95" y="23"/>
                    <a:pt x="95" y="31"/>
                  </a:cubicBezTo>
                  <a:cubicBezTo>
                    <a:pt x="95" y="39"/>
                    <a:pt x="90" y="46"/>
                    <a:pt x="80" y="51"/>
                  </a:cubicBezTo>
                  <a:cubicBezTo>
                    <a:pt x="71" y="56"/>
                    <a:pt x="59" y="59"/>
                    <a:pt x="48" y="59"/>
                  </a:cubicBezTo>
                  <a:close/>
                  <a:moveTo>
                    <a:pt x="48" y="7"/>
                  </a:moveTo>
                  <a:cubicBezTo>
                    <a:pt x="37" y="7"/>
                    <a:pt x="26" y="10"/>
                    <a:pt x="17" y="15"/>
                  </a:cubicBezTo>
                  <a:cubicBezTo>
                    <a:pt x="9" y="19"/>
                    <a:pt x="5" y="25"/>
                    <a:pt x="5" y="31"/>
                  </a:cubicBezTo>
                  <a:cubicBezTo>
                    <a:pt x="5" y="37"/>
                    <a:pt x="9" y="43"/>
                    <a:pt x="17" y="47"/>
                  </a:cubicBezTo>
                  <a:cubicBezTo>
                    <a:pt x="34" y="57"/>
                    <a:pt x="61" y="57"/>
                    <a:pt x="78" y="47"/>
                  </a:cubicBezTo>
                  <a:cubicBezTo>
                    <a:pt x="86" y="43"/>
                    <a:pt x="90" y="37"/>
                    <a:pt x="90" y="31"/>
                  </a:cubicBezTo>
                  <a:cubicBezTo>
                    <a:pt x="90" y="25"/>
                    <a:pt x="86" y="19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0" y="10"/>
                    <a:pt x="59" y="7"/>
                    <a:pt x="4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1" name="Freeform 479">
              <a:extLst>
                <a:ext uri="{FF2B5EF4-FFF2-40B4-BE49-F238E27FC236}">
                  <a16:creationId xmlns:a16="http://schemas.microsoft.com/office/drawing/2014/main" id="{E1F56FDC-044E-B5C6-88C5-7FD224646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101" y="2990845"/>
              <a:ext cx="214309" cy="69850"/>
            </a:xfrm>
            <a:custGeom>
              <a:avLst/>
              <a:gdLst>
                <a:gd name="T0" fmla="*/ 48 w 95"/>
                <a:gd name="T1" fmla="*/ 31 h 31"/>
                <a:gd name="T2" fmla="*/ 15 w 95"/>
                <a:gd name="T3" fmla="*/ 23 h 31"/>
                <a:gd name="T4" fmla="*/ 0 w 95"/>
                <a:gd name="T5" fmla="*/ 2 h 31"/>
                <a:gd name="T6" fmla="*/ 3 w 95"/>
                <a:gd name="T7" fmla="*/ 0 h 31"/>
                <a:gd name="T8" fmla="*/ 5 w 95"/>
                <a:gd name="T9" fmla="*/ 3 h 31"/>
                <a:gd name="T10" fmla="*/ 17 w 95"/>
                <a:gd name="T11" fmla="*/ 19 h 31"/>
                <a:gd name="T12" fmla="*/ 78 w 95"/>
                <a:gd name="T13" fmla="*/ 19 h 31"/>
                <a:gd name="T14" fmla="*/ 90 w 95"/>
                <a:gd name="T15" fmla="*/ 3 h 31"/>
                <a:gd name="T16" fmla="*/ 92 w 95"/>
                <a:gd name="T17" fmla="*/ 1 h 31"/>
                <a:gd name="T18" fmla="*/ 95 w 95"/>
                <a:gd name="T19" fmla="*/ 3 h 31"/>
                <a:gd name="T20" fmla="*/ 80 w 95"/>
                <a:gd name="T21" fmla="*/ 23 h 31"/>
                <a:gd name="T22" fmla="*/ 48 w 95"/>
                <a:gd name="T2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5" h="31">
                  <a:moveTo>
                    <a:pt x="48" y="31"/>
                  </a:moveTo>
                  <a:cubicBezTo>
                    <a:pt x="36" y="31"/>
                    <a:pt x="24" y="29"/>
                    <a:pt x="15" y="23"/>
                  </a:cubicBezTo>
                  <a:cubicBezTo>
                    <a:pt x="5" y="18"/>
                    <a:pt x="0" y="11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9"/>
                    <a:pt x="9" y="15"/>
                    <a:pt x="17" y="19"/>
                  </a:cubicBezTo>
                  <a:cubicBezTo>
                    <a:pt x="34" y="29"/>
                    <a:pt x="61" y="29"/>
                    <a:pt x="78" y="19"/>
                  </a:cubicBezTo>
                  <a:cubicBezTo>
                    <a:pt x="86" y="15"/>
                    <a:pt x="90" y="9"/>
                    <a:pt x="90" y="3"/>
                  </a:cubicBezTo>
                  <a:cubicBezTo>
                    <a:pt x="90" y="2"/>
                    <a:pt x="91" y="1"/>
                    <a:pt x="92" y="1"/>
                  </a:cubicBezTo>
                  <a:cubicBezTo>
                    <a:pt x="94" y="1"/>
                    <a:pt x="95" y="2"/>
                    <a:pt x="95" y="3"/>
                  </a:cubicBezTo>
                  <a:cubicBezTo>
                    <a:pt x="95" y="11"/>
                    <a:pt x="90" y="18"/>
                    <a:pt x="80" y="23"/>
                  </a:cubicBezTo>
                  <a:cubicBezTo>
                    <a:pt x="71" y="29"/>
                    <a:pt x="59" y="31"/>
                    <a:pt x="48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2" name="Freeform 480">
              <a:extLst>
                <a:ext uri="{FF2B5EF4-FFF2-40B4-BE49-F238E27FC236}">
                  <a16:creationId xmlns:a16="http://schemas.microsoft.com/office/drawing/2014/main" id="{1914583E-830F-74AB-8FF5-AADDA9A87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101" y="2954333"/>
              <a:ext cx="11113" cy="49213"/>
            </a:xfrm>
            <a:custGeom>
              <a:avLst/>
              <a:gdLst>
                <a:gd name="T0" fmla="*/ 3 w 5"/>
                <a:gd name="T1" fmla="*/ 22 h 22"/>
                <a:gd name="T2" fmla="*/ 0 w 5"/>
                <a:gd name="T3" fmla="*/ 19 h 22"/>
                <a:gd name="T4" fmla="*/ 0 w 5"/>
                <a:gd name="T5" fmla="*/ 2 h 22"/>
                <a:gd name="T6" fmla="*/ 3 w 5"/>
                <a:gd name="T7" fmla="*/ 0 h 22"/>
                <a:gd name="T8" fmla="*/ 5 w 5"/>
                <a:gd name="T9" fmla="*/ 2 h 22"/>
                <a:gd name="T10" fmla="*/ 5 w 5"/>
                <a:gd name="T11" fmla="*/ 19 h 22"/>
                <a:gd name="T12" fmla="*/ 3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3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1"/>
                    <a:pt x="4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3" name="Freeform 481">
              <a:extLst>
                <a:ext uri="{FF2B5EF4-FFF2-40B4-BE49-F238E27FC236}">
                  <a16:creationId xmlns:a16="http://schemas.microsoft.com/office/drawing/2014/main" id="{6F5A3039-E28E-BDB1-B383-6AA2173D5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20904" y="2954330"/>
              <a:ext cx="11113" cy="49213"/>
            </a:xfrm>
            <a:custGeom>
              <a:avLst/>
              <a:gdLst>
                <a:gd name="T0" fmla="*/ 2 w 5"/>
                <a:gd name="T1" fmla="*/ 22 h 22"/>
                <a:gd name="T2" fmla="*/ 0 w 5"/>
                <a:gd name="T3" fmla="*/ 19 h 22"/>
                <a:gd name="T4" fmla="*/ 0 w 5"/>
                <a:gd name="T5" fmla="*/ 2 h 22"/>
                <a:gd name="T6" fmla="*/ 2 w 5"/>
                <a:gd name="T7" fmla="*/ 0 h 22"/>
                <a:gd name="T8" fmla="*/ 5 w 5"/>
                <a:gd name="T9" fmla="*/ 2 h 22"/>
                <a:gd name="T10" fmla="*/ 5 w 5"/>
                <a:gd name="T11" fmla="*/ 19 h 22"/>
                <a:gd name="T12" fmla="*/ 2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2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1"/>
                    <a:pt x="4" y="22"/>
                    <a:pt x="2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4" name="Freeform 482">
              <a:extLst>
                <a:ext uri="{FF2B5EF4-FFF2-40B4-BE49-F238E27FC236}">
                  <a16:creationId xmlns:a16="http://schemas.microsoft.com/office/drawing/2014/main" id="{56C5B65B-2BFE-3938-E43A-4CFDE1B84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101" y="3028942"/>
              <a:ext cx="142872" cy="71438"/>
            </a:xfrm>
            <a:custGeom>
              <a:avLst/>
              <a:gdLst>
                <a:gd name="T0" fmla="*/ 48 w 63"/>
                <a:gd name="T1" fmla="*/ 32 h 32"/>
                <a:gd name="T2" fmla="*/ 15 w 63"/>
                <a:gd name="T3" fmla="*/ 24 h 32"/>
                <a:gd name="T4" fmla="*/ 0 w 63"/>
                <a:gd name="T5" fmla="*/ 3 h 32"/>
                <a:gd name="T6" fmla="*/ 3 w 63"/>
                <a:gd name="T7" fmla="*/ 0 h 32"/>
                <a:gd name="T8" fmla="*/ 5 w 63"/>
                <a:gd name="T9" fmla="*/ 3 h 32"/>
                <a:gd name="T10" fmla="*/ 17 w 63"/>
                <a:gd name="T11" fmla="*/ 19 h 32"/>
                <a:gd name="T12" fmla="*/ 59 w 63"/>
                <a:gd name="T13" fmla="*/ 26 h 32"/>
                <a:gd name="T14" fmla="*/ 62 w 63"/>
                <a:gd name="T15" fmla="*/ 28 h 32"/>
                <a:gd name="T16" fmla="*/ 60 w 63"/>
                <a:gd name="T17" fmla="*/ 31 h 32"/>
                <a:gd name="T18" fmla="*/ 48 w 63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32">
                  <a:moveTo>
                    <a:pt x="48" y="32"/>
                  </a:moveTo>
                  <a:cubicBezTo>
                    <a:pt x="35" y="32"/>
                    <a:pt x="24" y="29"/>
                    <a:pt x="15" y="24"/>
                  </a:cubicBezTo>
                  <a:cubicBezTo>
                    <a:pt x="5" y="18"/>
                    <a:pt x="0" y="11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2"/>
                    <a:pt x="5" y="3"/>
                  </a:cubicBezTo>
                  <a:cubicBezTo>
                    <a:pt x="5" y="9"/>
                    <a:pt x="9" y="15"/>
                    <a:pt x="17" y="19"/>
                  </a:cubicBezTo>
                  <a:cubicBezTo>
                    <a:pt x="28" y="26"/>
                    <a:pt x="44" y="28"/>
                    <a:pt x="59" y="26"/>
                  </a:cubicBezTo>
                  <a:cubicBezTo>
                    <a:pt x="61" y="26"/>
                    <a:pt x="62" y="26"/>
                    <a:pt x="62" y="28"/>
                  </a:cubicBezTo>
                  <a:cubicBezTo>
                    <a:pt x="63" y="29"/>
                    <a:pt x="62" y="30"/>
                    <a:pt x="60" y="31"/>
                  </a:cubicBezTo>
                  <a:cubicBezTo>
                    <a:pt x="56" y="31"/>
                    <a:pt x="52" y="32"/>
                    <a:pt x="48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5" name="Freeform 483">
              <a:extLst>
                <a:ext uri="{FF2B5EF4-FFF2-40B4-BE49-F238E27FC236}">
                  <a16:creationId xmlns:a16="http://schemas.microsoft.com/office/drawing/2014/main" id="{72B9D142-C5D8-558D-FCBE-18EE1E7D4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30429" y="3030530"/>
              <a:ext cx="20638" cy="31750"/>
            </a:xfrm>
            <a:custGeom>
              <a:avLst/>
              <a:gdLst>
                <a:gd name="T0" fmla="*/ 3 w 9"/>
                <a:gd name="T1" fmla="*/ 14 h 14"/>
                <a:gd name="T2" fmla="*/ 2 w 9"/>
                <a:gd name="T3" fmla="*/ 14 h 14"/>
                <a:gd name="T4" fmla="*/ 1 w 9"/>
                <a:gd name="T5" fmla="*/ 10 h 14"/>
                <a:gd name="T6" fmla="*/ 4 w 9"/>
                <a:gd name="T7" fmla="*/ 2 h 14"/>
                <a:gd name="T8" fmla="*/ 6 w 9"/>
                <a:gd name="T9" fmla="*/ 0 h 14"/>
                <a:gd name="T10" fmla="*/ 9 w 9"/>
                <a:gd name="T11" fmla="*/ 2 h 14"/>
                <a:gd name="T12" fmla="*/ 5 w 9"/>
                <a:gd name="T13" fmla="*/ 13 h 14"/>
                <a:gd name="T14" fmla="*/ 3 w 9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4">
                  <a:moveTo>
                    <a:pt x="3" y="14"/>
                  </a:moveTo>
                  <a:cubicBezTo>
                    <a:pt x="3" y="14"/>
                    <a:pt x="2" y="14"/>
                    <a:pt x="2" y="14"/>
                  </a:cubicBezTo>
                  <a:cubicBezTo>
                    <a:pt x="1" y="13"/>
                    <a:pt x="0" y="11"/>
                    <a:pt x="1" y="10"/>
                  </a:cubicBezTo>
                  <a:cubicBezTo>
                    <a:pt x="3" y="8"/>
                    <a:pt x="4" y="5"/>
                    <a:pt x="4" y="2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6"/>
                    <a:pt x="8" y="10"/>
                    <a:pt x="5" y="13"/>
                  </a:cubicBezTo>
                  <a:cubicBezTo>
                    <a:pt x="5" y="14"/>
                    <a:pt x="4" y="14"/>
                    <a:pt x="3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6" name="Freeform 484">
              <a:extLst>
                <a:ext uri="{FF2B5EF4-FFF2-40B4-BE49-F238E27FC236}">
                  <a16:creationId xmlns:a16="http://schemas.microsoft.com/office/drawing/2014/main" id="{BB8106BC-7843-5E77-210E-1E7AC648F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101" y="2992431"/>
              <a:ext cx="11113" cy="49213"/>
            </a:xfrm>
            <a:custGeom>
              <a:avLst/>
              <a:gdLst>
                <a:gd name="T0" fmla="*/ 3 w 5"/>
                <a:gd name="T1" fmla="*/ 22 h 22"/>
                <a:gd name="T2" fmla="*/ 0 w 5"/>
                <a:gd name="T3" fmla="*/ 20 h 22"/>
                <a:gd name="T4" fmla="*/ 0 w 5"/>
                <a:gd name="T5" fmla="*/ 2 h 22"/>
                <a:gd name="T6" fmla="*/ 3 w 5"/>
                <a:gd name="T7" fmla="*/ 0 h 22"/>
                <a:gd name="T8" fmla="*/ 5 w 5"/>
                <a:gd name="T9" fmla="*/ 2 h 22"/>
                <a:gd name="T10" fmla="*/ 5 w 5"/>
                <a:gd name="T11" fmla="*/ 20 h 22"/>
                <a:gd name="T12" fmla="*/ 3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3" y="22"/>
                  </a:moveTo>
                  <a:cubicBezTo>
                    <a:pt x="1" y="22"/>
                    <a:pt x="0" y="21"/>
                    <a:pt x="0" y="2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4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7" name="Freeform 485">
              <a:extLst>
                <a:ext uri="{FF2B5EF4-FFF2-40B4-BE49-F238E27FC236}">
                  <a16:creationId xmlns:a16="http://schemas.microsoft.com/office/drawing/2014/main" id="{57EAA6B1-6402-D89E-4B43-EB840782125F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20904" y="2992428"/>
              <a:ext cx="11113" cy="49213"/>
            </a:xfrm>
            <a:custGeom>
              <a:avLst/>
              <a:gdLst>
                <a:gd name="T0" fmla="*/ 2 w 5"/>
                <a:gd name="T1" fmla="*/ 22 h 22"/>
                <a:gd name="T2" fmla="*/ 0 w 5"/>
                <a:gd name="T3" fmla="*/ 20 h 22"/>
                <a:gd name="T4" fmla="*/ 0 w 5"/>
                <a:gd name="T5" fmla="*/ 2 h 22"/>
                <a:gd name="T6" fmla="*/ 2 w 5"/>
                <a:gd name="T7" fmla="*/ 0 h 22"/>
                <a:gd name="T8" fmla="*/ 5 w 5"/>
                <a:gd name="T9" fmla="*/ 2 h 22"/>
                <a:gd name="T10" fmla="*/ 5 w 5"/>
                <a:gd name="T11" fmla="*/ 20 h 22"/>
                <a:gd name="T12" fmla="*/ 2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2" y="22"/>
                  </a:moveTo>
                  <a:cubicBezTo>
                    <a:pt x="1" y="22"/>
                    <a:pt x="0" y="21"/>
                    <a:pt x="0" y="2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4" y="22"/>
                    <a:pt x="2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8" name="Freeform 486">
              <a:extLst>
                <a:ext uri="{FF2B5EF4-FFF2-40B4-BE49-F238E27FC236}">
                  <a16:creationId xmlns:a16="http://schemas.microsoft.com/office/drawing/2014/main" id="{E57A0090-A64C-B196-694F-86352B19AE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101" y="3065452"/>
              <a:ext cx="134935" cy="69850"/>
            </a:xfrm>
            <a:custGeom>
              <a:avLst/>
              <a:gdLst>
                <a:gd name="T0" fmla="*/ 48 w 60"/>
                <a:gd name="T1" fmla="*/ 31 h 31"/>
                <a:gd name="T2" fmla="*/ 15 w 60"/>
                <a:gd name="T3" fmla="*/ 24 h 31"/>
                <a:gd name="T4" fmla="*/ 0 w 60"/>
                <a:gd name="T5" fmla="*/ 2 h 31"/>
                <a:gd name="T6" fmla="*/ 3 w 60"/>
                <a:gd name="T7" fmla="*/ 0 h 31"/>
                <a:gd name="T8" fmla="*/ 5 w 60"/>
                <a:gd name="T9" fmla="*/ 3 h 31"/>
                <a:gd name="T10" fmla="*/ 17 w 60"/>
                <a:gd name="T11" fmla="*/ 19 h 31"/>
                <a:gd name="T12" fmla="*/ 57 w 60"/>
                <a:gd name="T13" fmla="*/ 26 h 31"/>
                <a:gd name="T14" fmla="*/ 60 w 60"/>
                <a:gd name="T15" fmla="*/ 28 h 31"/>
                <a:gd name="T16" fmla="*/ 58 w 60"/>
                <a:gd name="T17" fmla="*/ 31 h 31"/>
                <a:gd name="T18" fmla="*/ 48 w 60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31">
                  <a:moveTo>
                    <a:pt x="48" y="31"/>
                  </a:moveTo>
                  <a:cubicBezTo>
                    <a:pt x="35" y="31"/>
                    <a:pt x="24" y="29"/>
                    <a:pt x="15" y="24"/>
                  </a:cubicBezTo>
                  <a:cubicBezTo>
                    <a:pt x="5" y="18"/>
                    <a:pt x="0" y="11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9"/>
                    <a:pt x="9" y="15"/>
                    <a:pt x="17" y="19"/>
                  </a:cubicBezTo>
                  <a:cubicBezTo>
                    <a:pt x="28" y="25"/>
                    <a:pt x="42" y="28"/>
                    <a:pt x="57" y="26"/>
                  </a:cubicBezTo>
                  <a:cubicBezTo>
                    <a:pt x="58" y="26"/>
                    <a:pt x="60" y="27"/>
                    <a:pt x="60" y="28"/>
                  </a:cubicBezTo>
                  <a:cubicBezTo>
                    <a:pt x="60" y="29"/>
                    <a:pt x="59" y="31"/>
                    <a:pt x="58" y="31"/>
                  </a:cubicBezTo>
                  <a:cubicBezTo>
                    <a:pt x="54" y="31"/>
                    <a:pt x="51" y="31"/>
                    <a:pt x="48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9" name="Freeform 487">
              <a:extLst>
                <a:ext uri="{FF2B5EF4-FFF2-40B4-BE49-F238E27FC236}">
                  <a16:creationId xmlns:a16="http://schemas.microsoft.com/office/drawing/2014/main" id="{5F70B852-4CAA-2B32-AB70-247D23736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101" y="3028940"/>
              <a:ext cx="11113" cy="49213"/>
            </a:xfrm>
            <a:custGeom>
              <a:avLst/>
              <a:gdLst>
                <a:gd name="T0" fmla="*/ 3 w 5"/>
                <a:gd name="T1" fmla="*/ 22 h 22"/>
                <a:gd name="T2" fmla="*/ 0 w 5"/>
                <a:gd name="T3" fmla="*/ 19 h 22"/>
                <a:gd name="T4" fmla="*/ 0 w 5"/>
                <a:gd name="T5" fmla="*/ 2 h 22"/>
                <a:gd name="T6" fmla="*/ 3 w 5"/>
                <a:gd name="T7" fmla="*/ 0 h 22"/>
                <a:gd name="T8" fmla="*/ 5 w 5"/>
                <a:gd name="T9" fmla="*/ 2 h 22"/>
                <a:gd name="T10" fmla="*/ 5 w 5"/>
                <a:gd name="T11" fmla="*/ 19 h 22"/>
                <a:gd name="T12" fmla="*/ 3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3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1"/>
                    <a:pt x="4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0" name="Freeform 488">
              <a:extLst>
                <a:ext uri="{FF2B5EF4-FFF2-40B4-BE49-F238E27FC236}">
                  <a16:creationId xmlns:a16="http://schemas.microsoft.com/office/drawing/2014/main" id="{CEDF846B-B954-8ED4-070E-6F4425E8C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20901" y="3028935"/>
              <a:ext cx="11113" cy="33338"/>
            </a:xfrm>
            <a:custGeom>
              <a:avLst/>
              <a:gdLst>
                <a:gd name="T0" fmla="*/ 2 w 5"/>
                <a:gd name="T1" fmla="*/ 15 h 15"/>
                <a:gd name="T2" fmla="*/ 0 w 5"/>
                <a:gd name="T3" fmla="*/ 12 h 15"/>
                <a:gd name="T4" fmla="*/ 0 w 5"/>
                <a:gd name="T5" fmla="*/ 2 h 15"/>
                <a:gd name="T6" fmla="*/ 2 w 5"/>
                <a:gd name="T7" fmla="*/ 0 h 15"/>
                <a:gd name="T8" fmla="*/ 5 w 5"/>
                <a:gd name="T9" fmla="*/ 2 h 15"/>
                <a:gd name="T10" fmla="*/ 5 w 5"/>
                <a:gd name="T11" fmla="*/ 12 h 15"/>
                <a:gd name="T12" fmla="*/ 2 w 5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5">
                  <a:moveTo>
                    <a:pt x="2" y="15"/>
                  </a:moveTo>
                  <a:cubicBezTo>
                    <a:pt x="1" y="15"/>
                    <a:pt x="0" y="14"/>
                    <a:pt x="0" y="1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4"/>
                    <a:pt x="4" y="15"/>
                    <a:pt x="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1" name="Freeform 489">
              <a:extLst>
                <a:ext uri="{FF2B5EF4-FFF2-40B4-BE49-F238E27FC236}">
                  <a16:creationId xmlns:a16="http://schemas.microsoft.com/office/drawing/2014/main" id="{56891312-6758-3E4A-9297-C13659DDE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097" y="3100372"/>
              <a:ext cx="134935" cy="71438"/>
            </a:xfrm>
            <a:custGeom>
              <a:avLst/>
              <a:gdLst>
                <a:gd name="T0" fmla="*/ 48 w 60"/>
                <a:gd name="T1" fmla="*/ 31 h 31"/>
                <a:gd name="T2" fmla="*/ 15 w 60"/>
                <a:gd name="T3" fmla="*/ 23 h 31"/>
                <a:gd name="T4" fmla="*/ 0 w 60"/>
                <a:gd name="T5" fmla="*/ 2 h 31"/>
                <a:gd name="T6" fmla="*/ 3 w 60"/>
                <a:gd name="T7" fmla="*/ 0 h 31"/>
                <a:gd name="T8" fmla="*/ 5 w 60"/>
                <a:gd name="T9" fmla="*/ 2 h 31"/>
                <a:gd name="T10" fmla="*/ 17 w 60"/>
                <a:gd name="T11" fmla="*/ 19 h 31"/>
                <a:gd name="T12" fmla="*/ 57 w 60"/>
                <a:gd name="T13" fmla="*/ 26 h 31"/>
                <a:gd name="T14" fmla="*/ 60 w 60"/>
                <a:gd name="T15" fmla="*/ 28 h 31"/>
                <a:gd name="T16" fmla="*/ 58 w 60"/>
                <a:gd name="T17" fmla="*/ 31 h 31"/>
                <a:gd name="T18" fmla="*/ 48 w 60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31">
                  <a:moveTo>
                    <a:pt x="48" y="31"/>
                  </a:moveTo>
                  <a:cubicBezTo>
                    <a:pt x="35" y="31"/>
                    <a:pt x="24" y="28"/>
                    <a:pt x="15" y="23"/>
                  </a:cubicBezTo>
                  <a:cubicBezTo>
                    <a:pt x="5" y="18"/>
                    <a:pt x="0" y="10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9"/>
                    <a:pt x="9" y="15"/>
                    <a:pt x="17" y="19"/>
                  </a:cubicBezTo>
                  <a:cubicBezTo>
                    <a:pt x="28" y="25"/>
                    <a:pt x="42" y="28"/>
                    <a:pt x="57" y="26"/>
                  </a:cubicBezTo>
                  <a:cubicBezTo>
                    <a:pt x="58" y="26"/>
                    <a:pt x="60" y="26"/>
                    <a:pt x="60" y="28"/>
                  </a:cubicBezTo>
                  <a:cubicBezTo>
                    <a:pt x="60" y="29"/>
                    <a:pt x="59" y="30"/>
                    <a:pt x="58" y="31"/>
                  </a:cubicBezTo>
                  <a:cubicBezTo>
                    <a:pt x="54" y="31"/>
                    <a:pt x="51" y="31"/>
                    <a:pt x="48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2" name="Freeform 490">
              <a:extLst>
                <a:ext uri="{FF2B5EF4-FFF2-40B4-BE49-F238E27FC236}">
                  <a16:creationId xmlns:a16="http://schemas.microsoft.com/office/drawing/2014/main" id="{C06C912A-9E01-1092-D1C6-E98B9FBC1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097" y="3065450"/>
              <a:ext cx="11113" cy="49213"/>
            </a:xfrm>
            <a:custGeom>
              <a:avLst/>
              <a:gdLst>
                <a:gd name="T0" fmla="*/ 3 w 5"/>
                <a:gd name="T1" fmla="*/ 22 h 22"/>
                <a:gd name="T2" fmla="*/ 0 w 5"/>
                <a:gd name="T3" fmla="*/ 19 h 22"/>
                <a:gd name="T4" fmla="*/ 0 w 5"/>
                <a:gd name="T5" fmla="*/ 2 h 22"/>
                <a:gd name="T6" fmla="*/ 3 w 5"/>
                <a:gd name="T7" fmla="*/ 0 h 22"/>
                <a:gd name="T8" fmla="*/ 5 w 5"/>
                <a:gd name="T9" fmla="*/ 2 h 22"/>
                <a:gd name="T10" fmla="*/ 5 w 5"/>
                <a:gd name="T11" fmla="*/ 19 h 22"/>
                <a:gd name="T12" fmla="*/ 3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3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1"/>
                    <a:pt x="4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3" name="Freeform 491">
              <a:extLst>
                <a:ext uri="{FF2B5EF4-FFF2-40B4-BE49-F238E27FC236}">
                  <a16:creationId xmlns:a16="http://schemas.microsoft.com/office/drawing/2014/main" id="{BD3C5BEC-0928-1353-C1DB-6FC6C939A2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094" y="3136896"/>
              <a:ext cx="134935" cy="69850"/>
            </a:xfrm>
            <a:custGeom>
              <a:avLst/>
              <a:gdLst>
                <a:gd name="T0" fmla="*/ 48 w 60"/>
                <a:gd name="T1" fmla="*/ 31 h 31"/>
                <a:gd name="T2" fmla="*/ 15 w 60"/>
                <a:gd name="T3" fmla="*/ 23 h 31"/>
                <a:gd name="T4" fmla="*/ 0 w 60"/>
                <a:gd name="T5" fmla="*/ 2 h 31"/>
                <a:gd name="T6" fmla="*/ 3 w 60"/>
                <a:gd name="T7" fmla="*/ 0 h 31"/>
                <a:gd name="T8" fmla="*/ 5 w 60"/>
                <a:gd name="T9" fmla="*/ 2 h 31"/>
                <a:gd name="T10" fmla="*/ 17 w 60"/>
                <a:gd name="T11" fmla="*/ 19 h 31"/>
                <a:gd name="T12" fmla="*/ 57 w 60"/>
                <a:gd name="T13" fmla="*/ 25 h 31"/>
                <a:gd name="T14" fmla="*/ 60 w 60"/>
                <a:gd name="T15" fmla="*/ 28 h 31"/>
                <a:gd name="T16" fmla="*/ 58 w 60"/>
                <a:gd name="T17" fmla="*/ 30 h 31"/>
                <a:gd name="T18" fmla="*/ 48 w 60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31">
                  <a:moveTo>
                    <a:pt x="48" y="31"/>
                  </a:moveTo>
                  <a:cubicBezTo>
                    <a:pt x="35" y="31"/>
                    <a:pt x="24" y="28"/>
                    <a:pt x="15" y="23"/>
                  </a:cubicBezTo>
                  <a:cubicBezTo>
                    <a:pt x="5" y="18"/>
                    <a:pt x="0" y="10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8"/>
                    <a:pt x="9" y="14"/>
                    <a:pt x="17" y="19"/>
                  </a:cubicBezTo>
                  <a:cubicBezTo>
                    <a:pt x="28" y="25"/>
                    <a:pt x="42" y="27"/>
                    <a:pt x="57" y="25"/>
                  </a:cubicBezTo>
                  <a:cubicBezTo>
                    <a:pt x="58" y="25"/>
                    <a:pt x="60" y="26"/>
                    <a:pt x="60" y="28"/>
                  </a:cubicBezTo>
                  <a:cubicBezTo>
                    <a:pt x="60" y="29"/>
                    <a:pt x="59" y="30"/>
                    <a:pt x="58" y="30"/>
                  </a:cubicBezTo>
                  <a:cubicBezTo>
                    <a:pt x="54" y="31"/>
                    <a:pt x="51" y="31"/>
                    <a:pt x="48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4" name="Freeform 492">
              <a:extLst>
                <a:ext uri="{FF2B5EF4-FFF2-40B4-BE49-F238E27FC236}">
                  <a16:creationId xmlns:a16="http://schemas.microsoft.com/office/drawing/2014/main" id="{AC10F301-600C-27A7-40AC-632FEFF5585D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151" y="3098800"/>
              <a:ext cx="11113" cy="49213"/>
            </a:xfrm>
            <a:custGeom>
              <a:avLst/>
              <a:gdLst>
                <a:gd name="T0" fmla="*/ 3 w 5"/>
                <a:gd name="T1" fmla="*/ 22 h 22"/>
                <a:gd name="T2" fmla="*/ 0 w 5"/>
                <a:gd name="T3" fmla="*/ 20 h 22"/>
                <a:gd name="T4" fmla="*/ 0 w 5"/>
                <a:gd name="T5" fmla="*/ 3 h 22"/>
                <a:gd name="T6" fmla="*/ 3 w 5"/>
                <a:gd name="T7" fmla="*/ 0 h 22"/>
                <a:gd name="T8" fmla="*/ 5 w 5"/>
                <a:gd name="T9" fmla="*/ 3 h 22"/>
                <a:gd name="T10" fmla="*/ 5 w 5"/>
                <a:gd name="T11" fmla="*/ 20 h 22"/>
                <a:gd name="T12" fmla="*/ 3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3" y="22"/>
                  </a:moveTo>
                  <a:cubicBezTo>
                    <a:pt x="1" y="22"/>
                    <a:pt x="0" y="21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4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30" name="Shape49_20200717_142846">
            <a:extLst>
              <a:ext uri="{FF2B5EF4-FFF2-40B4-BE49-F238E27FC236}">
                <a16:creationId xmlns:a16="http://schemas.microsoft.com/office/drawing/2014/main" id="{2A21B163-39EE-13EF-0DBF-9F6100AE59B9}"/>
              </a:ext>
            </a:extLst>
          </p:cNvPr>
          <p:cNvGrpSpPr>
            <a:grpSpLocks noChangeAspect="1"/>
          </p:cNvGrpSpPr>
          <p:nvPr/>
        </p:nvGrpSpPr>
        <p:grpSpPr>
          <a:xfrm>
            <a:off x="5949668" y="1259672"/>
            <a:ext cx="292665" cy="527744"/>
            <a:chOff x="-1241429" y="989982"/>
            <a:chExt cx="193680" cy="349251"/>
          </a:xfrm>
          <a:solidFill>
            <a:schemeClr val="accent1"/>
          </a:solidFill>
        </p:grpSpPr>
        <p:sp>
          <p:nvSpPr>
            <p:cNvPr id="231" name="Freeform 1470">
              <a:extLst>
                <a:ext uri="{FF2B5EF4-FFF2-40B4-BE49-F238E27FC236}">
                  <a16:creationId xmlns:a16="http://schemas.microsoft.com/office/drawing/2014/main" id="{06B23ED8-9376-61B7-AFE8-A4E6B44BD7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69991" y="1210646"/>
              <a:ext cx="11113" cy="107950"/>
            </a:xfrm>
            <a:custGeom>
              <a:avLst/>
              <a:gdLst>
                <a:gd name="T0" fmla="*/ 5 w 11"/>
                <a:gd name="T1" fmla="*/ 103 h 103"/>
                <a:gd name="T2" fmla="*/ 0 w 11"/>
                <a:gd name="T3" fmla="*/ 98 h 103"/>
                <a:gd name="T4" fmla="*/ 0 w 11"/>
                <a:gd name="T5" fmla="*/ 5 h 103"/>
                <a:gd name="T6" fmla="*/ 5 w 11"/>
                <a:gd name="T7" fmla="*/ 0 h 103"/>
                <a:gd name="T8" fmla="*/ 11 w 11"/>
                <a:gd name="T9" fmla="*/ 5 h 103"/>
                <a:gd name="T10" fmla="*/ 11 w 11"/>
                <a:gd name="T11" fmla="*/ 98 h 103"/>
                <a:gd name="T12" fmla="*/ 5 w 11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3">
                  <a:moveTo>
                    <a:pt x="5" y="103"/>
                  </a:moveTo>
                  <a:cubicBezTo>
                    <a:pt x="2" y="103"/>
                    <a:pt x="0" y="101"/>
                    <a:pt x="0" y="9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101"/>
                    <a:pt x="8" y="103"/>
                    <a:pt x="5" y="1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2" name="Freeform 1471">
              <a:extLst>
                <a:ext uri="{FF2B5EF4-FFF2-40B4-BE49-F238E27FC236}">
                  <a16:creationId xmlns:a16="http://schemas.microsoft.com/office/drawing/2014/main" id="{AD8FF3E2-7B85-3D4E-CDAE-3C0164F65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41429" y="1066182"/>
              <a:ext cx="153988" cy="273051"/>
            </a:xfrm>
            <a:custGeom>
              <a:avLst/>
              <a:gdLst>
                <a:gd name="T0" fmla="*/ 94 w 149"/>
                <a:gd name="T1" fmla="*/ 263 h 263"/>
                <a:gd name="T2" fmla="*/ 74 w 149"/>
                <a:gd name="T3" fmla="*/ 253 h 263"/>
                <a:gd name="T4" fmla="*/ 55 w 149"/>
                <a:gd name="T5" fmla="*/ 263 h 263"/>
                <a:gd name="T6" fmla="*/ 31 w 149"/>
                <a:gd name="T7" fmla="*/ 238 h 263"/>
                <a:gd name="T8" fmla="*/ 31 w 149"/>
                <a:gd name="T9" fmla="*/ 134 h 263"/>
                <a:gd name="T10" fmla="*/ 23 w 149"/>
                <a:gd name="T11" fmla="*/ 137 h 263"/>
                <a:gd name="T12" fmla="*/ 7 w 149"/>
                <a:gd name="T13" fmla="*/ 131 h 263"/>
                <a:gd name="T14" fmla="*/ 0 w 149"/>
                <a:gd name="T15" fmla="*/ 116 h 263"/>
                <a:gd name="T16" fmla="*/ 0 w 149"/>
                <a:gd name="T17" fmla="*/ 36 h 263"/>
                <a:gd name="T18" fmla="*/ 36 w 149"/>
                <a:gd name="T19" fmla="*/ 0 h 263"/>
                <a:gd name="T20" fmla="*/ 113 w 149"/>
                <a:gd name="T21" fmla="*/ 0 h 263"/>
                <a:gd name="T22" fmla="*/ 149 w 149"/>
                <a:gd name="T23" fmla="*/ 36 h 263"/>
                <a:gd name="T24" fmla="*/ 149 w 149"/>
                <a:gd name="T25" fmla="*/ 116 h 263"/>
                <a:gd name="T26" fmla="*/ 148 w 149"/>
                <a:gd name="T27" fmla="*/ 121 h 263"/>
                <a:gd name="T28" fmla="*/ 141 w 149"/>
                <a:gd name="T29" fmla="*/ 125 h 263"/>
                <a:gd name="T30" fmla="*/ 137 w 149"/>
                <a:gd name="T31" fmla="*/ 118 h 263"/>
                <a:gd name="T32" fmla="*/ 138 w 149"/>
                <a:gd name="T33" fmla="*/ 116 h 263"/>
                <a:gd name="T34" fmla="*/ 138 w 149"/>
                <a:gd name="T35" fmla="*/ 36 h 263"/>
                <a:gd name="T36" fmla="*/ 113 w 149"/>
                <a:gd name="T37" fmla="*/ 11 h 263"/>
                <a:gd name="T38" fmla="*/ 36 w 149"/>
                <a:gd name="T39" fmla="*/ 11 h 263"/>
                <a:gd name="T40" fmla="*/ 11 w 149"/>
                <a:gd name="T41" fmla="*/ 36 h 263"/>
                <a:gd name="T42" fmla="*/ 11 w 149"/>
                <a:gd name="T43" fmla="*/ 116 h 263"/>
                <a:gd name="T44" fmla="*/ 14 w 149"/>
                <a:gd name="T45" fmla="*/ 123 h 263"/>
                <a:gd name="T46" fmla="*/ 22 w 149"/>
                <a:gd name="T47" fmla="*/ 126 h 263"/>
                <a:gd name="T48" fmla="*/ 31 w 149"/>
                <a:gd name="T49" fmla="*/ 115 h 263"/>
                <a:gd name="T50" fmla="*/ 36 w 149"/>
                <a:gd name="T51" fmla="*/ 110 h 263"/>
                <a:gd name="T52" fmla="*/ 42 w 149"/>
                <a:gd name="T53" fmla="*/ 115 h 263"/>
                <a:gd name="T54" fmla="*/ 42 w 149"/>
                <a:gd name="T55" fmla="*/ 238 h 263"/>
                <a:gd name="T56" fmla="*/ 55 w 149"/>
                <a:gd name="T57" fmla="*/ 252 h 263"/>
                <a:gd name="T58" fmla="*/ 69 w 149"/>
                <a:gd name="T59" fmla="*/ 238 h 263"/>
                <a:gd name="T60" fmla="*/ 74 w 149"/>
                <a:gd name="T61" fmla="*/ 232 h 263"/>
                <a:gd name="T62" fmla="*/ 80 w 149"/>
                <a:gd name="T63" fmla="*/ 238 h 263"/>
                <a:gd name="T64" fmla="*/ 94 w 149"/>
                <a:gd name="T65" fmla="*/ 252 h 263"/>
                <a:gd name="T66" fmla="*/ 107 w 149"/>
                <a:gd name="T67" fmla="*/ 238 h 263"/>
                <a:gd name="T68" fmla="*/ 107 w 149"/>
                <a:gd name="T69" fmla="*/ 186 h 263"/>
                <a:gd name="T70" fmla="*/ 113 w 149"/>
                <a:gd name="T71" fmla="*/ 181 h 263"/>
                <a:gd name="T72" fmla="*/ 118 w 149"/>
                <a:gd name="T73" fmla="*/ 186 h 263"/>
                <a:gd name="T74" fmla="*/ 118 w 149"/>
                <a:gd name="T75" fmla="*/ 238 h 263"/>
                <a:gd name="T76" fmla="*/ 94 w 149"/>
                <a:gd name="T77" fmla="*/ 2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9" h="263">
                  <a:moveTo>
                    <a:pt x="94" y="263"/>
                  </a:moveTo>
                  <a:cubicBezTo>
                    <a:pt x="86" y="263"/>
                    <a:pt x="79" y="259"/>
                    <a:pt x="74" y="253"/>
                  </a:cubicBezTo>
                  <a:cubicBezTo>
                    <a:pt x="70" y="259"/>
                    <a:pt x="63" y="263"/>
                    <a:pt x="55" y="263"/>
                  </a:cubicBezTo>
                  <a:cubicBezTo>
                    <a:pt x="42" y="263"/>
                    <a:pt x="31" y="251"/>
                    <a:pt x="31" y="238"/>
                  </a:cubicBezTo>
                  <a:cubicBezTo>
                    <a:pt x="31" y="134"/>
                    <a:pt x="31" y="134"/>
                    <a:pt x="31" y="134"/>
                  </a:cubicBezTo>
                  <a:cubicBezTo>
                    <a:pt x="28" y="135"/>
                    <a:pt x="26" y="136"/>
                    <a:pt x="23" y="137"/>
                  </a:cubicBezTo>
                  <a:cubicBezTo>
                    <a:pt x="17" y="137"/>
                    <a:pt x="11" y="135"/>
                    <a:pt x="7" y="131"/>
                  </a:cubicBezTo>
                  <a:cubicBezTo>
                    <a:pt x="3" y="127"/>
                    <a:pt x="0" y="122"/>
                    <a:pt x="0" y="11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32" y="0"/>
                    <a:pt x="149" y="16"/>
                    <a:pt x="149" y="36"/>
                  </a:cubicBezTo>
                  <a:cubicBezTo>
                    <a:pt x="149" y="116"/>
                    <a:pt x="149" y="116"/>
                    <a:pt x="149" y="116"/>
                  </a:cubicBezTo>
                  <a:cubicBezTo>
                    <a:pt x="149" y="118"/>
                    <a:pt x="148" y="119"/>
                    <a:pt x="148" y="121"/>
                  </a:cubicBezTo>
                  <a:cubicBezTo>
                    <a:pt x="147" y="124"/>
                    <a:pt x="144" y="125"/>
                    <a:pt x="141" y="125"/>
                  </a:cubicBezTo>
                  <a:cubicBezTo>
                    <a:pt x="138" y="124"/>
                    <a:pt x="137" y="121"/>
                    <a:pt x="137" y="118"/>
                  </a:cubicBezTo>
                  <a:cubicBezTo>
                    <a:pt x="137" y="117"/>
                    <a:pt x="138" y="117"/>
                    <a:pt x="138" y="116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38" y="22"/>
                    <a:pt x="126" y="11"/>
                    <a:pt x="113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2" y="11"/>
                    <a:pt x="11" y="22"/>
                    <a:pt x="11" y="3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9"/>
                    <a:pt x="12" y="121"/>
                    <a:pt x="14" y="123"/>
                  </a:cubicBezTo>
                  <a:cubicBezTo>
                    <a:pt x="16" y="125"/>
                    <a:pt x="19" y="126"/>
                    <a:pt x="22" y="126"/>
                  </a:cubicBezTo>
                  <a:cubicBezTo>
                    <a:pt x="27" y="125"/>
                    <a:pt x="31" y="121"/>
                    <a:pt x="31" y="115"/>
                  </a:cubicBezTo>
                  <a:cubicBezTo>
                    <a:pt x="31" y="112"/>
                    <a:pt x="33" y="110"/>
                    <a:pt x="36" y="110"/>
                  </a:cubicBezTo>
                  <a:cubicBezTo>
                    <a:pt x="39" y="110"/>
                    <a:pt x="42" y="112"/>
                    <a:pt x="42" y="115"/>
                  </a:cubicBezTo>
                  <a:cubicBezTo>
                    <a:pt x="42" y="238"/>
                    <a:pt x="42" y="238"/>
                    <a:pt x="42" y="238"/>
                  </a:cubicBezTo>
                  <a:cubicBezTo>
                    <a:pt x="42" y="245"/>
                    <a:pt x="48" y="252"/>
                    <a:pt x="55" y="252"/>
                  </a:cubicBezTo>
                  <a:cubicBezTo>
                    <a:pt x="63" y="252"/>
                    <a:pt x="69" y="245"/>
                    <a:pt x="69" y="238"/>
                  </a:cubicBezTo>
                  <a:cubicBezTo>
                    <a:pt x="69" y="235"/>
                    <a:pt x="71" y="232"/>
                    <a:pt x="74" y="232"/>
                  </a:cubicBezTo>
                  <a:cubicBezTo>
                    <a:pt x="77" y="232"/>
                    <a:pt x="80" y="235"/>
                    <a:pt x="80" y="238"/>
                  </a:cubicBezTo>
                  <a:cubicBezTo>
                    <a:pt x="80" y="245"/>
                    <a:pt x="86" y="252"/>
                    <a:pt x="94" y="252"/>
                  </a:cubicBezTo>
                  <a:cubicBezTo>
                    <a:pt x="101" y="252"/>
                    <a:pt x="107" y="245"/>
                    <a:pt x="107" y="238"/>
                  </a:cubicBezTo>
                  <a:cubicBezTo>
                    <a:pt x="107" y="186"/>
                    <a:pt x="107" y="186"/>
                    <a:pt x="107" y="186"/>
                  </a:cubicBezTo>
                  <a:cubicBezTo>
                    <a:pt x="107" y="183"/>
                    <a:pt x="110" y="181"/>
                    <a:pt x="113" y="181"/>
                  </a:cubicBezTo>
                  <a:cubicBezTo>
                    <a:pt x="116" y="181"/>
                    <a:pt x="118" y="183"/>
                    <a:pt x="118" y="186"/>
                  </a:cubicBezTo>
                  <a:cubicBezTo>
                    <a:pt x="118" y="238"/>
                    <a:pt x="118" y="238"/>
                    <a:pt x="118" y="238"/>
                  </a:cubicBezTo>
                  <a:cubicBezTo>
                    <a:pt x="118" y="251"/>
                    <a:pt x="107" y="263"/>
                    <a:pt x="94" y="2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3" name="Freeform 1472">
              <a:extLst>
                <a:ext uri="{FF2B5EF4-FFF2-40B4-BE49-F238E27FC236}">
                  <a16:creationId xmlns:a16="http://schemas.microsoft.com/office/drawing/2014/main" id="{03998E5C-CF09-4A59-E40D-A62DC1D4D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09679" y="1066182"/>
              <a:ext cx="90489" cy="11113"/>
            </a:xfrm>
            <a:custGeom>
              <a:avLst/>
              <a:gdLst>
                <a:gd name="T0" fmla="*/ 82 w 87"/>
                <a:gd name="T1" fmla="*/ 11 h 11"/>
                <a:gd name="T2" fmla="*/ 5 w 87"/>
                <a:gd name="T3" fmla="*/ 11 h 11"/>
                <a:gd name="T4" fmla="*/ 0 w 87"/>
                <a:gd name="T5" fmla="*/ 5 h 11"/>
                <a:gd name="T6" fmla="*/ 5 w 87"/>
                <a:gd name="T7" fmla="*/ 0 h 11"/>
                <a:gd name="T8" fmla="*/ 82 w 87"/>
                <a:gd name="T9" fmla="*/ 0 h 11"/>
                <a:gd name="T10" fmla="*/ 87 w 87"/>
                <a:gd name="T11" fmla="*/ 5 h 11"/>
                <a:gd name="T12" fmla="*/ 82 w 87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1">
                  <a:moveTo>
                    <a:pt x="82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5" y="0"/>
                    <a:pt x="87" y="2"/>
                    <a:pt x="87" y="5"/>
                  </a:cubicBezTo>
                  <a:cubicBezTo>
                    <a:pt x="87" y="8"/>
                    <a:pt x="85" y="11"/>
                    <a:pt x="8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4" name="Freeform 1473">
              <a:extLst>
                <a:ext uri="{FF2B5EF4-FFF2-40B4-BE49-F238E27FC236}">
                  <a16:creationId xmlns:a16="http://schemas.microsoft.com/office/drawing/2014/main" id="{86428A8D-3CC9-3622-35C9-48E002CA66D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09680" y="1123332"/>
              <a:ext cx="11113" cy="68263"/>
            </a:xfrm>
            <a:custGeom>
              <a:avLst/>
              <a:gdLst>
                <a:gd name="T0" fmla="*/ 5 w 11"/>
                <a:gd name="T1" fmla="*/ 66 h 66"/>
                <a:gd name="T2" fmla="*/ 0 w 11"/>
                <a:gd name="T3" fmla="*/ 60 h 66"/>
                <a:gd name="T4" fmla="*/ 0 w 11"/>
                <a:gd name="T5" fmla="*/ 5 h 66"/>
                <a:gd name="T6" fmla="*/ 5 w 11"/>
                <a:gd name="T7" fmla="*/ 0 h 66"/>
                <a:gd name="T8" fmla="*/ 11 w 11"/>
                <a:gd name="T9" fmla="*/ 5 h 66"/>
                <a:gd name="T10" fmla="*/ 11 w 11"/>
                <a:gd name="T11" fmla="*/ 60 h 66"/>
                <a:gd name="T12" fmla="*/ 5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5" y="66"/>
                  </a:moveTo>
                  <a:cubicBezTo>
                    <a:pt x="2" y="66"/>
                    <a:pt x="0" y="63"/>
                    <a:pt x="0" y="6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8" y="66"/>
                    <a:pt x="5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5" name="Freeform 1474">
              <a:extLst>
                <a:ext uri="{FF2B5EF4-FFF2-40B4-BE49-F238E27FC236}">
                  <a16:creationId xmlns:a16="http://schemas.microsoft.com/office/drawing/2014/main" id="{60C2EA35-D13E-2D4B-D2AB-1A24EA786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30305" y="1123332"/>
              <a:ext cx="11113" cy="68263"/>
            </a:xfrm>
            <a:custGeom>
              <a:avLst/>
              <a:gdLst>
                <a:gd name="T0" fmla="*/ 6 w 11"/>
                <a:gd name="T1" fmla="*/ 66 h 66"/>
                <a:gd name="T2" fmla="*/ 0 w 11"/>
                <a:gd name="T3" fmla="*/ 60 h 66"/>
                <a:gd name="T4" fmla="*/ 0 w 11"/>
                <a:gd name="T5" fmla="*/ 5 h 66"/>
                <a:gd name="T6" fmla="*/ 6 w 11"/>
                <a:gd name="T7" fmla="*/ 0 h 66"/>
                <a:gd name="T8" fmla="*/ 11 w 11"/>
                <a:gd name="T9" fmla="*/ 5 h 66"/>
                <a:gd name="T10" fmla="*/ 11 w 11"/>
                <a:gd name="T11" fmla="*/ 60 h 66"/>
                <a:gd name="T12" fmla="*/ 6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6" y="66"/>
                  </a:moveTo>
                  <a:cubicBezTo>
                    <a:pt x="3" y="66"/>
                    <a:pt x="0" y="63"/>
                    <a:pt x="0" y="6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9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6" name="Freeform 1475">
              <a:extLst>
                <a:ext uri="{FF2B5EF4-FFF2-40B4-BE49-F238E27FC236}">
                  <a16:creationId xmlns:a16="http://schemas.microsoft.com/office/drawing/2014/main" id="{880E6137-1D88-7D44-7E7C-EAB98EB62E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96978" y="989982"/>
              <a:ext cx="65088" cy="65088"/>
            </a:xfrm>
            <a:custGeom>
              <a:avLst/>
              <a:gdLst>
                <a:gd name="T0" fmla="*/ 31 w 63"/>
                <a:gd name="T1" fmla="*/ 62 h 62"/>
                <a:gd name="T2" fmla="*/ 0 w 63"/>
                <a:gd name="T3" fmla="*/ 31 h 62"/>
                <a:gd name="T4" fmla="*/ 31 w 63"/>
                <a:gd name="T5" fmla="*/ 0 h 62"/>
                <a:gd name="T6" fmla="*/ 63 w 63"/>
                <a:gd name="T7" fmla="*/ 31 h 62"/>
                <a:gd name="T8" fmla="*/ 31 w 63"/>
                <a:gd name="T9" fmla="*/ 62 h 62"/>
                <a:gd name="T10" fmla="*/ 31 w 63"/>
                <a:gd name="T11" fmla="*/ 11 h 62"/>
                <a:gd name="T12" fmla="*/ 11 w 63"/>
                <a:gd name="T13" fmla="*/ 31 h 62"/>
                <a:gd name="T14" fmla="*/ 31 w 63"/>
                <a:gd name="T15" fmla="*/ 51 h 62"/>
                <a:gd name="T16" fmla="*/ 52 w 63"/>
                <a:gd name="T17" fmla="*/ 31 h 62"/>
                <a:gd name="T18" fmla="*/ 31 w 63"/>
                <a:gd name="T19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2">
                  <a:moveTo>
                    <a:pt x="31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9" y="0"/>
                    <a:pt x="63" y="14"/>
                    <a:pt x="63" y="31"/>
                  </a:cubicBezTo>
                  <a:cubicBezTo>
                    <a:pt x="63" y="48"/>
                    <a:pt x="49" y="62"/>
                    <a:pt x="31" y="62"/>
                  </a:cubicBezTo>
                  <a:close/>
                  <a:moveTo>
                    <a:pt x="31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42"/>
                    <a:pt x="20" y="51"/>
                    <a:pt x="31" y="51"/>
                  </a:cubicBezTo>
                  <a:cubicBezTo>
                    <a:pt x="43" y="51"/>
                    <a:pt x="52" y="42"/>
                    <a:pt x="52" y="31"/>
                  </a:cubicBezTo>
                  <a:cubicBezTo>
                    <a:pt x="52" y="20"/>
                    <a:pt x="43" y="11"/>
                    <a:pt x="3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7" name="Freeform 1476">
              <a:extLst>
                <a:ext uri="{FF2B5EF4-FFF2-40B4-BE49-F238E27FC236}">
                  <a16:creationId xmlns:a16="http://schemas.microsoft.com/office/drawing/2014/main" id="{D85012CB-350E-4BBB-5060-672EEBD9A3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69987" y="1186830"/>
              <a:ext cx="122238" cy="76200"/>
            </a:xfrm>
            <a:custGeom>
              <a:avLst/>
              <a:gdLst>
                <a:gd name="T0" fmla="*/ 102 w 117"/>
                <a:gd name="T1" fmla="*/ 74 h 74"/>
                <a:gd name="T2" fmla="*/ 15 w 117"/>
                <a:gd name="T3" fmla="*/ 74 h 74"/>
                <a:gd name="T4" fmla="*/ 0 w 117"/>
                <a:gd name="T5" fmla="*/ 60 h 74"/>
                <a:gd name="T6" fmla="*/ 0 w 117"/>
                <a:gd name="T7" fmla="*/ 15 h 74"/>
                <a:gd name="T8" fmla="*/ 15 w 117"/>
                <a:gd name="T9" fmla="*/ 0 h 74"/>
                <a:gd name="T10" fmla="*/ 102 w 117"/>
                <a:gd name="T11" fmla="*/ 0 h 74"/>
                <a:gd name="T12" fmla="*/ 117 w 117"/>
                <a:gd name="T13" fmla="*/ 15 h 74"/>
                <a:gd name="T14" fmla="*/ 117 w 117"/>
                <a:gd name="T15" fmla="*/ 60 h 74"/>
                <a:gd name="T16" fmla="*/ 102 w 117"/>
                <a:gd name="T17" fmla="*/ 74 h 74"/>
                <a:gd name="T18" fmla="*/ 15 w 117"/>
                <a:gd name="T19" fmla="*/ 11 h 74"/>
                <a:gd name="T20" fmla="*/ 11 w 117"/>
                <a:gd name="T21" fmla="*/ 15 h 74"/>
                <a:gd name="T22" fmla="*/ 11 w 117"/>
                <a:gd name="T23" fmla="*/ 60 h 74"/>
                <a:gd name="T24" fmla="*/ 15 w 117"/>
                <a:gd name="T25" fmla="*/ 63 h 74"/>
                <a:gd name="T26" fmla="*/ 102 w 117"/>
                <a:gd name="T27" fmla="*/ 63 h 74"/>
                <a:gd name="T28" fmla="*/ 106 w 117"/>
                <a:gd name="T29" fmla="*/ 60 h 74"/>
                <a:gd name="T30" fmla="*/ 106 w 117"/>
                <a:gd name="T31" fmla="*/ 15 h 74"/>
                <a:gd name="T32" fmla="*/ 102 w 117"/>
                <a:gd name="T33" fmla="*/ 11 h 74"/>
                <a:gd name="T34" fmla="*/ 15 w 117"/>
                <a:gd name="T35" fmla="*/ 1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7" h="74">
                  <a:moveTo>
                    <a:pt x="102" y="74"/>
                  </a:moveTo>
                  <a:cubicBezTo>
                    <a:pt x="15" y="74"/>
                    <a:pt x="15" y="74"/>
                    <a:pt x="15" y="74"/>
                  </a:cubicBezTo>
                  <a:cubicBezTo>
                    <a:pt x="7" y="74"/>
                    <a:pt x="0" y="68"/>
                    <a:pt x="0" y="6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11" y="0"/>
                    <a:pt x="117" y="6"/>
                    <a:pt x="117" y="15"/>
                  </a:cubicBezTo>
                  <a:cubicBezTo>
                    <a:pt x="117" y="60"/>
                    <a:pt x="117" y="60"/>
                    <a:pt x="117" y="60"/>
                  </a:cubicBezTo>
                  <a:cubicBezTo>
                    <a:pt x="117" y="68"/>
                    <a:pt x="111" y="74"/>
                    <a:pt x="102" y="74"/>
                  </a:cubicBezTo>
                  <a:close/>
                  <a:moveTo>
                    <a:pt x="15" y="11"/>
                  </a:moveTo>
                  <a:cubicBezTo>
                    <a:pt x="13" y="11"/>
                    <a:pt x="11" y="12"/>
                    <a:pt x="11" y="15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2"/>
                    <a:pt x="13" y="63"/>
                    <a:pt x="15" y="63"/>
                  </a:cubicBezTo>
                  <a:cubicBezTo>
                    <a:pt x="102" y="63"/>
                    <a:pt x="102" y="63"/>
                    <a:pt x="102" y="63"/>
                  </a:cubicBezTo>
                  <a:cubicBezTo>
                    <a:pt x="105" y="63"/>
                    <a:pt x="106" y="62"/>
                    <a:pt x="106" y="60"/>
                  </a:cubicBezTo>
                  <a:cubicBezTo>
                    <a:pt x="106" y="15"/>
                    <a:pt x="106" y="15"/>
                    <a:pt x="106" y="15"/>
                  </a:cubicBezTo>
                  <a:cubicBezTo>
                    <a:pt x="106" y="12"/>
                    <a:pt x="105" y="11"/>
                    <a:pt x="102" y="11"/>
                  </a:cubicBezTo>
                  <a:lnTo>
                    <a:pt x="15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38" name="Shape52_20200717_142846">
            <a:extLst>
              <a:ext uri="{FF2B5EF4-FFF2-40B4-BE49-F238E27FC236}">
                <a16:creationId xmlns:a16="http://schemas.microsoft.com/office/drawing/2014/main" id="{8241E3E9-DDF0-5055-DD3A-C5E9AD0ECDB9}"/>
              </a:ext>
            </a:extLst>
          </p:cNvPr>
          <p:cNvGrpSpPr>
            <a:grpSpLocks noChangeAspect="1"/>
          </p:cNvGrpSpPr>
          <p:nvPr/>
        </p:nvGrpSpPr>
        <p:grpSpPr>
          <a:xfrm>
            <a:off x="5767328" y="3915169"/>
            <a:ext cx="664479" cy="438985"/>
            <a:chOff x="-628649" y="3399789"/>
            <a:chExt cx="439737" cy="290508"/>
          </a:xfrm>
          <a:solidFill>
            <a:schemeClr val="accent1"/>
          </a:solidFill>
        </p:grpSpPr>
        <p:sp>
          <p:nvSpPr>
            <p:cNvPr id="239" name="Freeform 1503">
              <a:extLst>
                <a:ext uri="{FF2B5EF4-FFF2-40B4-BE49-F238E27FC236}">
                  <a16:creationId xmlns:a16="http://schemas.microsoft.com/office/drawing/2014/main" id="{6940B6F8-8F6F-D5F7-5F2D-9AE9EDB3D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8649" y="3568059"/>
              <a:ext cx="219075" cy="122237"/>
            </a:xfrm>
            <a:custGeom>
              <a:avLst/>
              <a:gdLst>
                <a:gd name="T0" fmla="*/ 205 w 210"/>
                <a:gd name="T1" fmla="*/ 117 h 117"/>
                <a:gd name="T2" fmla="*/ 199 w 210"/>
                <a:gd name="T3" fmla="*/ 112 h 117"/>
                <a:gd name="T4" fmla="*/ 199 w 210"/>
                <a:gd name="T5" fmla="*/ 50 h 117"/>
                <a:gd name="T6" fmla="*/ 160 w 210"/>
                <a:gd name="T7" fmla="*/ 11 h 117"/>
                <a:gd name="T8" fmla="*/ 49 w 210"/>
                <a:gd name="T9" fmla="*/ 11 h 117"/>
                <a:gd name="T10" fmla="*/ 11 w 210"/>
                <a:gd name="T11" fmla="*/ 50 h 117"/>
                <a:gd name="T12" fmla="*/ 11 w 210"/>
                <a:gd name="T13" fmla="*/ 112 h 117"/>
                <a:gd name="T14" fmla="*/ 5 w 210"/>
                <a:gd name="T15" fmla="*/ 117 h 117"/>
                <a:gd name="T16" fmla="*/ 0 w 210"/>
                <a:gd name="T17" fmla="*/ 112 h 117"/>
                <a:gd name="T18" fmla="*/ 0 w 210"/>
                <a:gd name="T19" fmla="*/ 50 h 117"/>
                <a:gd name="T20" fmla="*/ 49 w 210"/>
                <a:gd name="T21" fmla="*/ 0 h 117"/>
                <a:gd name="T22" fmla="*/ 160 w 210"/>
                <a:gd name="T23" fmla="*/ 0 h 117"/>
                <a:gd name="T24" fmla="*/ 210 w 210"/>
                <a:gd name="T25" fmla="*/ 50 h 117"/>
                <a:gd name="T26" fmla="*/ 210 w 210"/>
                <a:gd name="T27" fmla="*/ 112 h 117"/>
                <a:gd name="T28" fmla="*/ 205 w 210"/>
                <a:gd name="T29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0" h="117">
                  <a:moveTo>
                    <a:pt x="205" y="117"/>
                  </a:moveTo>
                  <a:cubicBezTo>
                    <a:pt x="202" y="117"/>
                    <a:pt x="199" y="115"/>
                    <a:pt x="199" y="112"/>
                  </a:cubicBezTo>
                  <a:cubicBezTo>
                    <a:pt x="199" y="50"/>
                    <a:pt x="199" y="50"/>
                    <a:pt x="199" y="50"/>
                  </a:cubicBezTo>
                  <a:cubicBezTo>
                    <a:pt x="199" y="29"/>
                    <a:pt x="182" y="11"/>
                    <a:pt x="160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28" y="11"/>
                    <a:pt x="11" y="29"/>
                    <a:pt x="11" y="50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11" y="115"/>
                    <a:pt x="8" y="117"/>
                    <a:pt x="5" y="117"/>
                  </a:cubicBezTo>
                  <a:cubicBezTo>
                    <a:pt x="2" y="117"/>
                    <a:pt x="0" y="115"/>
                    <a:pt x="0" y="112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88" y="0"/>
                    <a:pt x="210" y="22"/>
                    <a:pt x="210" y="50"/>
                  </a:cubicBezTo>
                  <a:cubicBezTo>
                    <a:pt x="210" y="112"/>
                    <a:pt x="210" y="112"/>
                    <a:pt x="210" y="112"/>
                  </a:cubicBezTo>
                  <a:cubicBezTo>
                    <a:pt x="210" y="115"/>
                    <a:pt x="208" y="117"/>
                    <a:pt x="205" y="1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0" name="Freeform 1504">
              <a:extLst>
                <a:ext uri="{FF2B5EF4-FFF2-40B4-BE49-F238E27FC236}">
                  <a16:creationId xmlns:a16="http://schemas.microsoft.com/office/drawing/2014/main" id="{C5C993B7-7D00-0387-3542-7F13BDE719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3561" y="3460110"/>
              <a:ext cx="88900" cy="88900"/>
            </a:xfrm>
            <a:custGeom>
              <a:avLst/>
              <a:gdLst>
                <a:gd name="T0" fmla="*/ 43 w 86"/>
                <a:gd name="T1" fmla="*/ 85 h 85"/>
                <a:gd name="T2" fmla="*/ 0 w 86"/>
                <a:gd name="T3" fmla="*/ 42 h 85"/>
                <a:gd name="T4" fmla="*/ 43 w 86"/>
                <a:gd name="T5" fmla="*/ 0 h 85"/>
                <a:gd name="T6" fmla="*/ 86 w 86"/>
                <a:gd name="T7" fmla="*/ 42 h 85"/>
                <a:gd name="T8" fmla="*/ 43 w 86"/>
                <a:gd name="T9" fmla="*/ 85 h 85"/>
                <a:gd name="T10" fmla="*/ 43 w 86"/>
                <a:gd name="T11" fmla="*/ 11 h 85"/>
                <a:gd name="T12" fmla="*/ 11 w 86"/>
                <a:gd name="T13" fmla="*/ 42 h 85"/>
                <a:gd name="T14" fmla="*/ 43 w 86"/>
                <a:gd name="T15" fmla="*/ 74 h 85"/>
                <a:gd name="T16" fmla="*/ 75 w 86"/>
                <a:gd name="T17" fmla="*/ 42 h 85"/>
                <a:gd name="T18" fmla="*/ 43 w 86"/>
                <a:gd name="T19" fmla="*/ 1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" h="85">
                  <a:moveTo>
                    <a:pt x="43" y="85"/>
                  </a:moveTo>
                  <a:cubicBezTo>
                    <a:pt x="19" y="85"/>
                    <a:pt x="0" y="66"/>
                    <a:pt x="0" y="42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67" y="0"/>
                    <a:pt x="86" y="19"/>
                    <a:pt x="86" y="42"/>
                  </a:cubicBezTo>
                  <a:cubicBezTo>
                    <a:pt x="86" y="66"/>
                    <a:pt x="67" y="85"/>
                    <a:pt x="43" y="85"/>
                  </a:cubicBezTo>
                  <a:close/>
                  <a:moveTo>
                    <a:pt x="43" y="11"/>
                  </a:moveTo>
                  <a:cubicBezTo>
                    <a:pt x="25" y="11"/>
                    <a:pt x="11" y="25"/>
                    <a:pt x="11" y="42"/>
                  </a:cubicBezTo>
                  <a:cubicBezTo>
                    <a:pt x="11" y="60"/>
                    <a:pt x="25" y="74"/>
                    <a:pt x="43" y="74"/>
                  </a:cubicBezTo>
                  <a:cubicBezTo>
                    <a:pt x="60" y="74"/>
                    <a:pt x="75" y="60"/>
                    <a:pt x="75" y="42"/>
                  </a:cubicBezTo>
                  <a:cubicBezTo>
                    <a:pt x="75" y="25"/>
                    <a:pt x="60" y="11"/>
                    <a:pt x="4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1" name="Freeform 1505">
              <a:extLst>
                <a:ext uri="{FF2B5EF4-FFF2-40B4-BE49-F238E27FC236}">
                  <a16:creationId xmlns:a16="http://schemas.microsoft.com/office/drawing/2014/main" id="{D9E972CD-0480-CE06-AF4D-B23A8640D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5787" y="3622034"/>
              <a:ext cx="11113" cy="68262"/>
            </a:xfrm>
            <a:custGeom>
              <a:avLst/>
              <a:gdLst>
                <a:gd name="T0" fmla="*/ 6 w 11"/>
                <a:gd name="T1" fmla="*/ 66 h 66"/>
                <a:gd name="T2" fmla="*/ 0 w 11"/>
                <a:gd name="T3" fmla="*/ 61 h 66"/>
                <a:gd name="T4" fmla="*/ 0 w 11"/>
                <a:gd name="T5" fmla="*/ 6 h 66"/>
                <a:gd name="T6" fmla="*/ 6 w 11"/>
                <a:gd name="T7" fmla="*/ 0 h 66"/>
                <a:gd name="T8" fmla="*/ 11 w 11"/>
                <a:gd name="T9" fmla="*/ 6 h 66"/>
                <a:gd name="T10" fmla="*/ 11 w 11"/>
                <a:gd name="T11" fmla="*/ 61 h 66"/>
                <a:gd name="T12" fmla="*/ 6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6" y="66"/>
                  </a:moveTo>
                  <a:cubicBezTo>
                    <a:pt x="3" y="66"/>
                    <a:pt x="0" y="64"/>
                    <a:pt x="0" y="6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4"/>
                    <a:pt x="9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2" name="Freeform 1506">
              <a:extLst>
                <a:ext uri="{FF2B5EF4-FFF2-40B4-BE49-F238E27FC236}">
                  <a16:creationId xmlns:a16="http://schemas.microsoft.com/office/drawing/2014/main" id="{080E4C5B-9243-E871-1666-6F2277863E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3549" y="3622035"/>
              <a:ext cx="11113" cy="68262"/>
            </a:xfrm>
            <a:custGeom>
              <a:avLst/>
              <a:gdLst>
                <a:gd name="T0" fmla="*/ 5 w 11"/>
                <a:gd name="T1" fmla="*/ 66 h 66"/>
                <a:gd name="T2" fmla="*/ 0 w 11"/>
                <a:gd name="T3" fmla="*/ 61 h 66"/>
                <a:gd name="T4" fmla="*/ 0 w 11"/>
                <a:gd name="T5" fmla="*/ 6 h 66"/>
                <a:gd name="T6" fmla="*/ 5 w 11"/>
                <a:gd name="T7" fmla="*/ 0 h 66"/>
                <a:gd name="T8" fmla="*/ 11 w 11"/>
                <a:gd name="T9" fmla="*/ 6 h 66"/>
                <a:gd name="T10" fmla="*/ 11 w 11"/>
                <a:gd name="T11" fmla="*/ 61 h 66"/>
                <a:gd name="T12" fmla="*/ 5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5" y="66"/>
                  </a:moveTo>
                  <a:cubicBezTo>
                    <a:pt x="2" y="66"/>
                    <a:pt x="0" y="64"/>
                    <a:pt x="0" y="6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4"/>
                    <a:pt x="8" y="66"/>
                    <a:pt x="5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3" name="Freeform 1507">
              <a:extLst>
                <a:ext uri="{FF2B5EF4-FFF2-40B4-BE49-F238E27FC236}">
                  <a16:creationId xmlns:a16="http://schemas.microsoft.com/office/drawing/2014/main" id="{2CC2CBA8-7683-2140-FA06-C34569B91F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28625" y="3399789"/>
              <a:ext cx="239713" cy="177799"/>
            </a:xfrm>
            <a:custGeom>
              <a:avLst/>
              <a:gdLst>
                <a:gd name="T0" fmla="*/ 37 w 231"/>
                <a:gd name="T1" fmla="*/ 171 h 171"/>
                <a:gd name="T2" fmla="*/ 31 w 231"/>
                <a:gd name="T3" fmla="*/ 170 h 171"/>
                <a:gd name="T4" fmla="*/ 23 w 231"/>
                <a:gd name="T5" fmla="*/ 157 h 171"/>
                <a:gd name="T6" fmla="*/ 23 w 231"/>
                <a:gd name="T7" fmla="*/ 140 h 171"/>
                <a:gd name="T8" fmla="*/ 0 w 231"/>
                <a:gd name="T9" fmla="*/ 112 h 171"/>
                <a:gd name="T10" fmla="*/ 0 w 231"/>
                <a:gd name="T11" fmla="*/ 29 h 171"/>
                <a:gd name="T12" fmla="*/ 29 w 231"/>
                <a:gd name="T13" fmla="*/ 0 h 171"/>
                <a:gd name="T14" fmla="*/ 202 w 231"/>
                <a:gd name="T15" fmla="*/ 0 h 171"/>
                <a:gd name="T16" fmla="*/ 231 w 231"/>
                <a:gd name="T17" fmla="*/ 29 h 171"/>
                <a:gd name="T18" fmla="*/ 231 w 231"/>
                <a:gd name="T19" fmla="*/ 112 h 171"/>
                <a:gd name="T20" fmla="*/ 202 w 231"/>
                <a:gd name="T21" fmla="*/ 141 h 171"/>
                <a:gd name="T22" fmla="*/ 79 w 231"/>
                <a:gd name="T23" fmla="*/ 141 h 171"/>
                <a:gd name="T24" fmla="*/ 46 w 231"/>
                <a:gd name="T25" fmla="*/ 168 h 171"/>
                <a:gd name="T26" fmla="*/ 37 w 231"/>
                <a:gd name="T27" fmla="*/ 171 h 171"/>
                <a:gd name="T28" fmla="*/ 29 w 231"/>
                <a:gd name="T29" fmla="*/ 11 h 171"/>
                <a:gd name="T30" fmla="*/ 11 w 231"/>
                <a:gd name="T31" fmla="*/ 29 h 171"/>
                <a:gd name="T32" fmla="*/ 11 w 231"/>
                <a:gd name="T33" fmla="*/ 112 h 171"/>
                <a:gd name="T34" fmla="*/ 29 w 231"/>
                <a:gd name="T35" fmla="*/ 130 h 171"/>
                <a:gd name="T36" fmla="*/ 34 w 231"/>
                <a:gd name="T37" fmla="*/ 135 h 171"/>
                <a:gd name="T38" fmla="*/ 34 w 231"/>
                <a:gd name="T39" fmla="*/ 157 h 171"/>
                <a:gd name="T40" fmla="*/ 36 w 231"/>
                <a:gd name="T41" fmla="*/ 160 h 171"/>
                <a:gd name="T42" fmla="*/ 39 w 231"/>
                <a:gd name="T43" fmla="*/ 159 h 171"/>
                <a:gd name="T44" fmla="*/ 74 w 231"/>
                <a:gd name="T45" fmla="*/ 131 h 171"/>
                <a:gd name="T46" fmla="*/ 77 w 231"/>
                <a:gd name="T47" fmla="*/ 130 h 171"/>
                <a:gd name="T48" fmla="*/ 202 w 231"/>
                <a:gd name="T49" fmla="*/ 130 h 171"/>
                <a:gd name="T50" fmla="*/ 220 w 231"/>
                <a:gd name="T51" fmla="*/ 112 h 171"/>
                <a:gd name="T52" fmla="*/ 220 w 231"/>
                <a:gd name="T53" fmla="*/ 29 h 171"/>
                <a:gd name="T54" fmla="*/ 202 w 231"/>
                <a:gd name="T55" fmla="*/ 11 h 171"/>
                <a:gd name="T56" fmla="*/ 29 w 231"/>
                <a:gd name="T57" fmla="*/ 1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1" h="171">
                  <a:moveTo>
                    <a:pt x="37" y="171"/>
                  </a:moveTo>
                  <a:cubicBezTo>
                    <a:pt x="35" y="171"/>
                    <a:pt x="33" y="171"/>
                    <a:pt x="31" y="170"/>
                  </a:cubicBezTo>
                  <a:cubicBezTo>
                    <a:pt x="26" y="167"/>
                    <a:pt x="23" y="163"/>
                    <a:pt x="23" y="157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10" y="138"/>
                    <a:pt x="0" y="126"/>
                    <a:pt x="0" y="112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202" y="0"/>
                    <a:pt x="202" y="0"/>
                    <a:pt x="202" y="0"/>
                  </a:cubicBezTo>
                  <a:cubicBezTo>
                    <a:pt x="218" y="0"/>
                    <a:pt x="231" y="13"/>
                    <a:pt x="231" y="29"/>
                  </a:cubicBezTo>
                  <a:cubicBezTo>
                    <a:pt x="231" y="112"/>
                    <a:pt x="231" y="112"/>
                    <a:pt x="231" y="112"/>
                  </a:cubicBezTo>
                  <a:cubicBezTo>
                    <a:pt x="231" y="128"/>
                    <a:pt x="218" y="141"/>
                    <a:pt x="202" y="141"/>
                  </a:cubicBezTo>
                  <a:cubicBezTo>
                    <a:pt x="79" y="141"/>
                    <a:pt x="79" y="141"/>
                    <a:pt x="79" y="141"/>
                  </a:cubicBezTo>
                  <a:cubicBezTo>
                    <a:pt x="46" y="168"/>
                    <a:pt x="46" y="168"/>
                    <a:pt x="46" y="168"/>
                  </a:cubicBezTo>
                  <a:cubicBezTo>
                    <a:pt x="44" y="170"/>
                    <a:pt x="41" y="171"/>
                    <a:pt x="37" y="171"/>
                  </a:cubicBezTo>
                  <a:close/>
                  <a:moveTo>
                    <a:pt x="29" y="11"/>
                  </a:moveTo>
                  <a:cubicBezTo>
                    <a:pt x="19" y="11"/>
                    <a:pt x="11" y="19"/>
                    <a:pt x="11" y="29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11" y="122"/>
                    <a:pt x="19" y="130"/>
                    <a:pt x="29" y="130"/>
                  </a:cubicBezTo>
                  <a:cubicBezTo>
                    <a:pt x="32" y="130"/>
                    <a:pt x="34" y="132"/>
                    <a:pt x="34" y="135"/>
                  </a:cubicBezTo>
                  <a:cubicBezTo>
                    <a:pt x="34" y="157"/>
                    <a:pt x="34" y="157"/>
                    <a:pt x="34" y="157"/>
                  </a:cubicBezTo>
                  <a:cubicBezTo>
                    <a:pt x="34" y="159"/>
                    <a:pt x="35" y="160"/>
                    <a:pt x="36" y="160"/>
                  </a:cubicBezTo>
                  <a:cubicBezTo>
                    <a:pt x="37" y="160"/>
                    <a:pt x="38" y="161"/>
                    <a:pt x="39" y="159"/>
                  </a:cubicBezTo>
                  <a:cubicBezTo>
                    <a:pt x="74" y="131"/>
                    <a:pt x="74" y="131"/>
                    <a:pt x="74" y="131"/>
                  </a:cubicBezTo>
                  <a:cubicBezTo>
                    <a:pt x="75" y="130"/>
                    <a:pt x="76" y="130"/>
                    <a:pt x="77" y="130"/>
                  </a:cubicBezTo>
                  <a:cubicBezTo>
                    <a:pt x="202" y="130"/>
                    <a:pt x="202" y="130"/>
                    <a:pt x="202" y="130"/>
                  </a:cubicBezTo>
                  <a:cubicBezTo>
                    <a:pt x="212" y="130"/>
                    <a:pt x="220" y="122"/>
                    <a:pt x="220" y="112"/>
                  </a:cubicBezTo>
                  <a:cubicBezTo>
                    <a:pt x="220" y="29"/>
                    <a:pt x="220" y="29"/>
                    <a:pt x="220" y="29"/>
                  </a:cubicBezTo>
                  <a:cubicBezTo>
                    <a:pt x="220" y="19"/>
                    <a:pt x="212" y="11"/>
                    <a:pt x="202" y="11"/>
                  </a:cubicBezTo>
                  <a:lnTo>
                    <a:pt x="29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4" name="Freeform 1508">
              <a:extLst>
                <a:ext uri="{FF2B5EF4-FFF2-40B4-BE49-F238E27FC236}">
                  <a16:creationId xmlns:a16="http://schemas.microsoft.com/office/drawing/2014/main" id="{CBD25756-E79A-D05B-685E-778BDEB5110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0526" y="3450566"/>
              <a:ext cx="93663" cy="11113"/>
            </a:xfrm>
            <a:custGeom>
              <a:avLst/>
              <a:gdLst>
                <a:gd name="T0" fmla="*/ 85 w 90"/>
                <a:gd name="T1" fmla="*/ 11 h 11"/>
                <a:gd name="T2" fmla="*/ 6 w 90"/>
                <a:gd name="T3" fmla="*/ 11 h 11"/>
                <a:gd name="T4" fmla="*/ 0 w 90"/>
                <a:gd name="T5" fmla="*/ 6 h 11"/>
                <a:gd name="T6" fmla="*/ 6 w 90"/>
                <a:gd name="T7" fmla="*/ 0 h 11"/>
                <a:gd name="T8" fmla="*/ 85 w 90"/>
                <a:gd name="T9" fmla="*/ 0 h 11"/>
                <a:gd name="T10" fmla="*/ 90 w 90"/>
                <a:gd name="T11" fmla="*/ 6 h 11"/>
                <a:gd name="T12" fmla="*/ 85 w 90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11">
                  <a:moveTo>
                    <a:pt x="85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8" y="0"/>
                    <a:pt x="90" y="3"/>
                    <a:pt x="90" y="6"/>
                  </a:cubicBezTo>
                  <a:cubicBezTo>
                    <a:pt x="90" y="9"/>
                    <a:pt x="88" y="11"/>
                    <a:pt x="8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5" name="Freeform 1509">
              <a:extLst>
                <a:ext uri="{FF2B5EF4-FFF2-40B4-BE49-F238E27FC236}">
                  <a16:creationId xmlns:a16="http://schemas.microsoft.com/office/drawing/2014/main" id="{49220EFC-E934-6196-9EFE-F050EA418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0525" y="3482355"/>
              <a:ext cx="163513" cy="12700"/>
            </a:xfrm>
            <a:custGeom>
              <a:avLst/>
              <a:gdLst>
                <a:gd name="T0" fmla="*/ 151 w 157"/>
                <a:gd name="T1" fmla="*/ 11 h 11"/>
                <a:gd name="T2" fmla="*/ 6 w 157"/>
                <a:gd name="T3" fmla="*/ 11 h 11"/>
                <a:gd name="T4" fmla="*/ 0 w 157"/>
                <a:gd name="T5" fmla="*/ 5 h 11"/>
                <a:gd name="T6" fmla="*/ 6 w 157"/>
                <a:gd name="T7" fmla="*/ 0 h 11"/>
                <a:gd name="T8" fmla="*/ 151 w 157"/>
                <a:gd name="T9" fmla="*/ 0 h 11"/>
                <a:gd name="T10" fmla="*/ 157 w 157"/>
                <a:gd name="T11" fmla="*/ 5 h 11"/>
                <a:gd name="T12" fmla="*/ 151 w 157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11">
                  <a:moveTo>
                    <a:pt x="151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4" y="0"/>
                    <a:pt x="157" y="2"/>
                    <a:pt x="157" y="5"/>
                  </a:cubicBezTo>
                  <a:cubicBezTo>
                    <a:pt x="157" y="9"/>
                    <a:pt x="154" y="11"/>
                    <a:pt x="15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46" name="Shape56_20200717_142846">
            <a:extLst>
              <a:ext uri="{FF2B5EF4-FFF2-40B4-BE49-F238E27FC236}">
                <a16:creationId xmlns:a16="http://schemas.microsoft.com/office/drawing/2014/main" id="{0A1B3D75-25E8-1A59-7A56-A90567EE9AA5}"/>
              </a:ext>
            </a:extLst>
          </p:cNvPr>
          <p:cNvGrpSpPr>
            <a:grpSpLocks noChangeAspect="1"/>
          </p:cNvGrpSpPr>
          <p:nvPr/>
        </p:nvGrpSpPr>
        <p:grpSpPr>
          <a:xfrm>
            <a:off x="5766674" y="2588015"/>
            <a:ext cx="626093" cy="482162"/>
            <a:chOff x="-3560767" y="2591783"/>
            <a:chExt cx="414335" cy="319086"/>
          </a:xfrm>
          <a:solidFill>
            <a:schemeClr val="accent1"/>
          </a:solidFill>
        </p:grpSpPr>
        <p:sp>
          <p:nvSpPr>
            <p:cNvPr id="247" name="Freeform 1558">
              <a:extLst>
                <a:ext uri="{FF2B5EF4-FFF2-40B4-BE49-F238E27FC236}">
                  <a16:creationId xmlns:a16="http://schemas.microsoft.com/office/drawing/2014/main" id="{721AE87A-F851-E4F2-E753-B68844B03EF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60767" y="2745772"/>
              <a:ext cx="153988" cy="87313"/>
            </a:xfrm>
            <a:custGeom>
              <a:avLst/>
              <a:gdLst>
                <a:gd name="T0" fmla="*/ 142 w 148"/>
                <a:gd name="T1" fmla="*/ 84 h 84"/>
                <a:gd name="T2" fmla="*/ 137 w 148"/>
                <a:gd name="T3" fmla="*/ 79 h 84"/>
                <a:gd name="T4" fmla="*/ 137 w 148"/>
                <a:gd name="T5" fmla="*/ 36 h 84"/>
                <a:gd name="T6" fmla="*/ 112 w 148"/>
                <a:gd name="T7" fmla="*/ 11 h 84"/>
                <a:gd name="T8" fmla="*/ 35 w 148"/>
                <a:gd name="T9" fmla="*/ 11 h 84"/>
                <a:gd name="T10" fmla="*/ 10 w 148"/>
                <a:gd name="T11" fmla="*/ 36 h 84"/>
                <a:gd name="T12" fmla="*/ 10 w 148"/>
                <a:gd name="T13" fmla="*/ 79 h 84"/>
                <a:gd name="T14" fmla="*/ 5 w 148"/>
                <a:gd name="T15" fmla="*/ 84 h 84"/>
                <a:gd name="T16" fmla="*/ 0 w 148"/>
                <a:gd name="T17" fmla="*/ 79 h 84"/>
                <a:gd name="T18" fmla="*/ 0 w 148"/>
                <a:gd name="T19" fmla="*/ 36 h 84"/>
                <a:gd name="T20" fmla="*/ 35 w 148"/>
                <a:gd name="T21" fmla="*/ 0 h 84"/>
                <a:gd name="T22" fmla="*/ 112 w 148"/>
                <a:gd name="T23" fmla="*/ 0 h 84"/>
                <a:gd name="T24" fmla="*/ 148 w 148"/>
                <a:gd name="T25" fmla="*/ 36 h 84"/>
                <a:gd name="T26" fmla="*/ 148 w 148"/>
                <a:gd name="T27" fmla="*/ 79 h 84"/>
                <a:gd name="T28" fmla="*/ 142 w 148"/>
                <a:gd name="T2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8" h="84">
                  <a:moveTo>
                    <a:pt x="142" y="84"/>
                  </a:moveTo>
                  <a:cubicBezTo>
                    <a:pt x="139" y="84"/>
                    <a:pt x="137" y="82"/>
                    <a:pt x="137" y="79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22"/>
                    <a:pt x="125" y="11"/>
                    <a:pt x="112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22" y="11"/>
                    <a:pt x="10" y="22"/>
                    <a:pt x="10" y="36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0" y="82"/>
                    <a:pt x="8" y="84"/>
                    <a:pt x="5" y="84"/>
                  </a:cubicBezTo>
                  <a:cubicBezTo>
                    <a:pt x="2" y="84"/>
                    <a:pt x="0" y="82"/>
                    <a:pt x="0" y="79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31" y="0"/>
                    <a:pt x="148" y="16"/>
                    <a:pt x="148" y="36"/>
                  </a:cubicBezTo>
                  <a:cubicBezTo>
                    <a:pt x="148" y="79"/>
                    <a:pt x="148" y="79"/>
                    <a:pt x="148" y="79"/>
                  </a:cubicBezTo>
                  <a:cubicBezTo>
                    <a:pt x="148" y="82"/>
                    <a:pt x="145" y="84"/>
                    <a:pt x="142" y="8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8" name="Freeform 1559">
              <a:extLst>
                <a:ext uri="{FF2B5EF4-FFF2-40B4-BE49-F238E27FC236}">
                  <a16:creationId xmlns:a16="http://schemas.microsoft.com/office/drawing/2014/main" id="{1867B556-2BFC-78C3-8A6B-657CF78848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7905" y="2669572"/>
              <a:ext cx="66675" cy="65088"/>
            </a:xfrm>
            <a:custGeom>
              <a:avLst/>
              <a:gdLst>
                <a:gd name="T0" fmla="*/ 32 w 63"/>
                <a:gd name="T1" fmla="*/ 62 h 62"/>
                <a:gd name="T2" fmla="*/ 0 w 63"/>
                <a:gd name="T3" fmla="*/ 31 h 62"/>
                <a:gd name="T4" fmla="*/ 32 w 63"/>
                <a:gd name="T5" fmla="*/ 0 h 62"/>
                <a:gd name="T6" fmla="*/ 63 w 63"/>
                <a:gd name="T7" fmla="*/ 31 h 62"/>
                <a:gd name="T8" fmla="*/ 32 w 63"/>
                <a:gd name="T9" fmla="*/ 62 h 62"/>
                <a:gd name="T10" fmla="*/ 32 w 63"/>
                <a:gd name="T11" fmla="*/ 11 h 62"/>
                <a:gd name="T12" fmla="*/ 11 w 63"/>
                <a:gd name="T13" fmla="*/ 31 h 62"/>
                <a:gd name="T14" fmla="*/ 32 w 63"/>
                <a:gd name="T15" fmla="*/ 51 h 62"/>
                <a:gd name="T16" fmla="*/ 52 w 63"/>
                <a:gd name="T17" fmla="*/ 31 h 62"/>
                <a:gd name="T18" fmla="*/ 32 w 63"/>
                <a:gd name="T19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2">
                  <a:moveTo>
                    <a:pt x="32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3" y="14"/>
                    <a:pt x="63" y="31"/>
                  </a:cubicBezTo>
                  <a:cubicBezTo>
                    <a:pt x="63" y="48"/>
                    <a:pt x="49" y="62"/>
                    <a:pt x="32" y="62"/>
                  </a:cubicBezTo>
                  <a:close/>
                  <a:moveTo>
                    <a:pt x="32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42"/>
                    <a:pt x="20" y="51"/>
                    <a:pt x="32" y="51"/>
                  </a:cubicBezTo>
                  <a:cubicBezTo>
                    <a:pt x="43" y="51"/>
                    <a:pt x="52" y="42"/>
                    <a:pt x="52" y="31"/>
                  </a:cubicBezTo>
                  <a:cubicBezTo>
                    <a:pt x="52" y="20"/>
                    <a:pt x="43" y="11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9" name="Freeform 1560">
              <a:extLst>
                <a:ext uri="{FF2B5EF4-FFF2-40B4-BE49-F238E27FC236}">
                  <a16:creationId xmlns:a16="http://schemas.microsoft.com/office/drawing/2014/main" id="{BD69C908-FCEE-26A6-E6A8-1C46B18EA03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32193" y="2782285"/>
              <a:ext cx="11113" cy="50800"/>
            </a:xfrm>
            <a:custGeom>
              <a:avLst/>
              <a:gdLst>
                <a:gd name="T0" fmla="*/ 5 w 11"/>
                <a:gd name="T1" fmla="*/ 49 h 49"/>
                <a:gd name="T2" fmla="*/ 0 w 11"/>
                <a:gd name="T3" fmla="*/ 44 h 49"/>
                <a:gd name="T4" fmla="*/ 0 w 11"/>
                <a:gd name="T5" fmla="*/ 6 h 49"/>
                <a:gd name="T6" fmla="*/ 5 w 11"/>
                <a:gd name="T7" fmla="*/ 0 h 49"/>
                <a:gd name="T8" fmla="*/ 11 w 11"/>
                <a:gd name="T9" fmla="*/ 6 h 49"/>
                <a:gd name="T10" fmla="*/ 11 w 11"/>
                <a:gd name="T11" fmla="*/ 44 h 49"/>
                <a:gd name="T12" fmla="*/ 5 w 11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9">
                  <a:moveTo>
                    <a:pt x="5" y="49"/>
                  </a:moveTo>
                  <a:cubicBezTo>
                    <a:pt x="2" y="49"/>
                    <a:pt x="0" y="47"/>
                    <a:pt x="0" y="4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7"/>
                    <a:pt x="8" y="49"/>
                    <a:pt x="5" y="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0" name="Freeform 1561">
              <a:extLst>
                <a:ext uri="{FF2B5EF4-FFF2-40B4-BE49-F238E27FC236}">
                  <a16:creationId xmlns:a16="http://schemas.microsoft.com/office/drawing/2014/main" id="{7E7F8A0C-0EE2-14B3-143D-6E51C905B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49643" y="2782285"/>
              <a:ext cx="12700" cy="50800"/>
            </a:xfrm>
            <a:custGeom>
              <a:avLst/>
              <a:gdLst>
                <a:gd name="T0" fmla="*/ 6 w 11"/>
                <a:gd name="T1" fmla="*/ 49 h 49"/>
                <a:gd name="T2" fmla="*/ 0 w 11"/>
                <a:gd name="T3" fmla="*/ 44 h 49"/>
                <a:gd name="T4" fmla="*/ 0 w 11"/>
                <a:gd name="T5" fmla="*/ 6 h 49"/>
                <a:gd name="T6" fmla="*/ 6 w 11"/>
                <a:gd name="T7" fmla="*/ 0 h 49"/>
                <a:gd name="T8" fmla="*/ 11 w 11"/>
                <a:gd name="T9" fmla="*/ 6 h 49"/>
                <a:gd name="T10" fmla="*/ 11 w 11"/>
                <a:gd name="T11" fmla="*/ 44 h 49"/>
                <a:gd name="T12" fmla="*/ 6 w 11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9">
                  <a:moveTo>
                    <a:pt x="6" y="49"/>
                  </a:moveTo>
                  <a:cubicBezTo>
                    <a:pt x="3" y="49"/>
                    <a:pt x="0" y="47"/>
                    <a:pt x="0" y="4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7"/>
                    <a:pt x="9" y="49"/>
                    <a:pt x="6" y="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1" name="Freeform 1562">
              <a:extLst>
                <a:ext uri="{FF2B5EF4-FFF2-40B4-BE49-F238E27FC236}">
                  <a16:creationId xmlns:a16="http://schemas.microsoft.com/office/drawing/2014/main" id="{5B99ED2A-9FFB-167F-724B-2E735C2E6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00420" y="2745772"/>
              <a:ext cx="153988" cy="87313"/>
            </a:xfrm>
            <a:custGeom>
              <a:avLst/>
              <a:gdLst>
                <a:gd name="T0" fmla="*/ 143 w 148"/>
                <a:gd name="T1" fmla="*/ 84 h 84"/>
                <a:gd name="T2" fmla="*/ 137 w 148"/>
                <a:gd name="T3" fmla="*/ 79 h 84"/>
                <a:gd name="T4" fmla="*/ 137 w 148"/>
                <a:gd name="T5" fmla="*/ 36 h 84"/>
                <a:gd name="T6" fmla="*/ 112 w 148"/>
                <a:gd name="T7" fmla="*/ 11 h 84"/>
                <a:gd name="T8" fmla="*/ 36 w 148"/>
                <a:gd name="T9" fmla="*/ 11 h 84"/>
                <a:gd name="T10" fmla="*/ 11 w 148"/>
                <a:gd name="T11" fmla="*/ 36 h 84"/>
                <a:gd name="T12" fmla="*/ 11 w 148"/>
                <a:gd name="T13" fmla="*/ 79 h 84"/>
                <a:gd name="T14" fmla="*/ 6 w 148"/>
                <a:gd name="T15" fmla="*/ 84 h 84"/>
                <a:gd name="T16" fmla="*/ 0 w 148"/>
                <a:gd name="T17" fmla="*/ 79 h 84"/>
                <a:gd name="T18" fmla="*/ 0 w 148"/>
                <a:gd name="T19" fmla="*/ 36 h 84"/>
                <a:gd name="T20" fmla="*/ 36 w 148"/>
                <a:gd name="T21" fmla="*/ 0 h 84"/>
                <a:gd name="T22" fmla="*/ 112 w 148"/>
                <a:gd name="T23" fmla="*/ 0 h 84"/>
                <a:gd name="T24" fmla="*/ 148 w 148"/>
                <a:gd name="T25" fmla="*/ 36 h 84"/>
                <a:gd name="T26" fmla="*/ 148 w 148"/>
                <a:gd name="T27" fmla="*/ 79 h 84"/>
                <a:gd name="T28" fmla="*/ 143 w 148"/>
                <a:gd name="T2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8" h="84">
                  <a:moveTo>
                    <a:pt x="143" y="84"/>
                  </a:moveTo>
                  <a:cubicBezTo>
                    <a:pt x="140" y="84"/>
                    <a:pt x="137" y="82"/>
                    <a:pt x="137" y="79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22"/>
                    <a:pt x="126" y="11"/>
                    <a:pt x="112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2" y="11"/>
                    <a:pt x="11" y="22"/>
                    <a:pt x="11" y="36"/>
                  </a:cubicBezTo>
                  <a:cubicBezTo>
                    <a:pt x="11" y="79"/>
                    <a:pt x="11" y="79"/>
                    <a:pt x="11" y="79"/>
                  </a:cubicBezTo>
                  <a:cubicBezTo>
                    <a:pt x="11" y="82"/>
                    <a:pt x="9" y="84"/>
                    <a:pt x="6" y="84"/>
                  </a:cubicBezTo>
                  <a:cubicBezTo>
                    <a:pt x="3" y="84"/>
                    <a:pt x="0" y="82"/>
                    <a:pt x="0" y="79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32" y="0"/>
                    <a:pt x="148" y="16"/>
                    <a:pt x="148" y="36"/>
                  </a:cubicBezTo>
                  <a:cubicBezTo>
                    <a:pt x="148" y="79"/>
                    <a:pt x="148" y="79"/>
                    <a:pt x="148" y="79"/>
                  </a:cubicBezTo>
                  <a:cubicBezTo>
                    <a:pt x="148" y="82"/>
                    <a:pt x="146" y="84"/>
                    <a:pt x="143" y="8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2" name="Freeform 1563">
              <a:extLst>
                <a:ext uri="{FF2B5EF4-FFF2-40B4-BE49-F238E27FC236}">
                  <a16:creationId xmlns:a16="http://schemas.microsoft.com/office/drawing/2014/main" id="{9E9EBBBC-ADBD-3DB1-189C-B8FBCA82A7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55970" y="2669572"/>
              <a:ext cx="65088" cy="65088"/>
            </a:xfrm>
            <a:custGeom>
              <a:avLst/>
              <a:gdLst>
                <a:gd name="T0" fmla="*/ 31 w 62"/>
                <a:gd name="T1" fmla="*/ 62 h 62"/>
                <a:gd name="T2" fmla="*/ 0 w 62"/>
                <a:gd name="T3" fmla="*/ 31 h 62"/>
                <a:gd name="T4" fmla="*/ 31 w 62"/>
                <a:gd name="T5" fmla="*/ 0 h 62"/>
                <a:gd name="T6" fmla="*/ 62 w 62"/>
                <a:gd name="T7" fmla="*/ 31 h 62"/>
                <a:gd name="T8" fmla="*/ 31 w 62"/>
                <a:gd name="T9" fmla="*/ 62 h 62"/>
                <a:gd name="T10" fmla="*/ 31 w 62"/>
                <a:gd name="T11" fmla="*/ 11 h 62"/>
                <a:gd name="T12" fmla="*/ 11 w 62"/>
                <a:gd name="T13" fmla="*/ 31 h 62"/>
                <a:gd name="T14" fmla="*/ 31 w 62"/>
                <a:gd name="T15" fmla="*/ 51 h 62"/>
                <a:gd name="T16" fmla="*/ 51 w 62"/>
                <a:gd name="T17" fmla="*/ 31 h 62"/>
                <a:gd name="T18" fmla="*/ 31 w 62"/>
                <a:gd name="T19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2">
                  <a:moveTo>
                    <a:pt x="31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2" y="14"/>
                    <a:pt x="62" y="31"/>
                  </a:cubicBezTo>
                  <a:cubicBezTo>
                    <a:pt x="62" y="48"/>
                    <a:pt x="48" y="62"/>
                    <a:pt x="31" y="62"/>
                  </a:cubicBezTo>
                  <a:close/>
                  <a:moveTo>
                    <a:pt x="31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42"/>
                    <a:pt x="20" y="51"/>
                    <a:pt x="31" y="51"/>
                  </a:cubicBezTo>
                  <a:cubicBezTo>
                    <a:pt x="42" y="51"/>
                    <a:pt x="51" y="42"/>
                    <a:pt x="51" y="31"/>
                  </a:cubicBezTo>
                  <a:cubicBezTo>
                    <a:pt x="51" y="20"/>
                    <a:pt x="42" y="11"/>
                    <a:pt x="3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3" name="Freeform 1564">
              <a:extLst>
                <a:ext uri="{FF2B5EF4-FFF2-40B4-BE49-F238E27FC236}">
                  <a16:creationId xmlns:a16="http://schemas.microsoft.com/office/drawing/2014/main" id="{7B0A42D1-B534-CF39-4974-2AE68A868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71845" y="2782285"/>
              <a:ext cx="11113" cy="50800"/>
            </a:xfrm>
            <a:custGeom>
              <a:avLst/>
              <a:gdLst>
                <a:gd name="T0" fmla="*/ 6 w 11"/>
                <a:gd name="T1" fmla="*/ 49 h 49"/>
                <a:gd name="T2" fmla="*/ 0 w 11"/>
                <a:gd name="T3" fmla="*/ 44 h 49"/>
                <a:gd name="T4" fmla="*/ 0 w 11"/>
                <a:gd name="T5" fmla="*/ 6 h 49"/>
                <a:gd name="T6" fmla="*/ 6 w 11"/>
                <a:gd name="T7" fmla="*/ 0 h 49"/>
                <a:gd name="T8" fmla="*/ 11 w 11"/>
                <a:gd name="T9" fmla="*/ 6 h 49"/>
                <a:gd name="T10" fmla="*/ 11 w 11"/>
                <a:gd name="T11" fmla="*/ 44 h 49"/>
                <a:gd name="T12" fmla="*/ 6 w 11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9">
                  <a:moveTo>
                    <a:pt x="6" y="49"/>
                  </a:moveTo>
                  <a:cubicBezTo>
                    <a:pt x="3" y="49"/>
                    <a:pt x="0" y="47"/>
                    <a:pt x="0" y="4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7"/>
                    <a:pt x="9" y="49"/>
                    <a:pt x="6" y="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4" name="Freeform 1565">
              <a:extLst>
                <a:ext uri="{FF2B5EF4-FFF2-40B4-BE49-F238E27FC236}">
                  <a16:creationId xmlns:a16="http://schemas.microsoft.com/office/drawing/2014/main" id="{30EF849A-0F29-0232-5AAF-8C4328F08A4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87708" y="2782285"/>
              <a:ext cx="11113" cy="50800"/>
            </a:xfrm>
            <a:custGeom>
              <a:avLst/>
              <a:gdLst>
                <a:gd name="T0" fmla="*/ 5 w 11"/>
                <a:gd name="T1" fmla="*/ 49 h 49"/>
                <a:gd name="T2" fmla="*/ 0 w 11"/>
                <a:gd name="T3" fmla="*/ 44 h 49"/>
                <a:gd name="T4" fmla="*/ 0 w 11"/>
                <a:gd name="T5" fmla="*/ 6 h 49"/>
                <a:gd name="T6" fmla="*/ 5 w 11"/>
                <a:gd name="T7" fmla="*/ 0 h 49"/>
                <a:gd name="T8" fmla="*/ 11 w 11"/>
                <a:gd name="T9" fmla="*/ 6 h 49"/>
                <a:gd name="T10" fmla="*/ 11 w 11"/>
                <a:gd name="T11" fmla="*/ 44 h 49"/>
                <a:gd name="T12" fmla="*/ 5 w 11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9">
                  <a:moveTo>
                    <a:pt x="5" y="49"/>
                  </a:moveTo>
                  <a:cubicBezTo>
                    <a:pt x="2" y="49"/>
                    <a:pt x="0" y="47"/>
                    <a:pt x="0" y="4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7"/>
                    <a:pt x="8" y="49"/>
                    <a:pt x="5" y="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5" name="Freeform 1566">
              <a:extLst>
                <a:ext uri="{FF2B5EF4-FFF2-40B4-BE49-F238E27FC236}">
                  <a16:creationId xmlns:a16="http://schemas.microsoft.com/office/drawing/2014/main" id="{7BC6E58E-E0F6-4C11-A996-702DE02A1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52821" y="2591783"/>
              <a:ext cx="201613" cy="47625"/>
            </a:xfrm>
            <a:custGeom>
              <a:avLst/>
              <a:gdLst>
                <a:gd name="T0" fmla="*/ 6 w 195"/>
                <a:gd name="T1" fmla="*/ 46 h 47"/>
                <a:gd name="T2" fmla="*/ 2 w 195"/>
                <a:gd name="T3" fmla="*/ 44 h 47"/>
                <a:gd name="T4" fmla="*/ 2 w 195"/>
                <a:gd name="T5" fmla="*/ 37 h 47"/>
                <a:gd name="T6" fmla="*/ 97 w 195"/>
                <a:gd name="T7" fmla="*/ 0 h 47"/>
                <a:gd name="T8" fmla="*/ 192 w 195"/>
                <a:gd name="T9" fmla="*/ 37 h 47"/>
                <a:gd name="T10" fmla="*/ 193 w 195"/>
                <a:gd name="T11" fmla="*/ 44 h 47"/>
                <a:gd name="T12" fmla="*/ 185 w 195"/>
                <a:gd name="T13" fmla="*/ 45 h 47"/>
                <a:gd name="T14" fmla="*/ 97 w 195"/>
                <a:gd name="T15" fmla="*/ 11 h 47"/>
                <a:gd name="T16" fmla="*/ 9 w 195"/>
                <a:gd name="T17" fmla="*/ 45 h 47"/>
                <a:gd name="T18" fmla="*/ 6 w 195"/>
                <a:gd name="T19" fmla="*/ 4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47">
                  <a:moveTo>
                    <a:pt x="6" y="46"/>
                  </a:moveTo>
                  <a:cubicBezTo>
                    <a:pt x="4" y="46"/>
                    <a:pt x="3" y="46"/>
                    <a:pt x="2" y="44"/>
                  </a:cubicBezTo>
                  <a:cubicBezTo>
                    <a:pt x="0" y="42"/>
                    <a:pt x="0" y="39"/>
                    <a:pt x="2" y="37"/>
                  </a:cubicBezTo>
                  <a:cubicBezTo>
                    <a:pt x="28" y="13"/>
                    <a:pt x="62" y="0"/>
                    <a:pt x="97" y="0"/>
                  </a:cubicBezTo>
                  <a:cubicBezTo>
                    <a:pt x="132" y="0"/>
                    <a:pt x="166" y="13"/>
                    <a:pt x="192" y="37"/>
                  </a:cubicBezTo>
                  <a:cubicBezTo>
                    <a:pt x="194" y="39"/>
                    <a:pt x="195" y="42"/>
                    <a:pt x="193" y="44"/>
                  </a:cubicBezTo>
                  <a:cubicBezTo>
                    <a:pt x="190" y="47"/>
                    <a:pt x="187" y="47"/>
                    <a:pt x="185" y="45"/>
                  </a:cubicBezTo>
                  <a:cubicBezTo>
                    <a:pt x="161" y="23"/>
                    <a:pt x="129" y="11"/>
                    <a:pt x="97" y="11"/>
                  </a:cubicBezTo>
                  <a:cubicBezTo>
                    <a:pt x="65" y="11"/>
                    <a:pt x="34" y="23"/>
                    <a:pt x="9" y="45"/>
                  </a:cubicBezTo>
                  <a:cubicBezTo>
                    <a:pt x="8" y="46"/>
                    <a:pt x="7" y="46"/>
                    <a:pt x="6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6" name="Freeform 1567">
              <a:extLst>
                <a:ext uri="{FF2B5EF4-FFF2-40B4-BE49-F238E27FC236}">
                  <a16:creationId xmlns:a16="http://schemas.microsoft.com/office/drawing/2014/main" id="{56722A45-C614-8F01-5B06-D4E2B6C0A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54408" y="2861656"/>
              <a:ext cx="204788" cy="49213"/>
            </a:xfrm>
            <a:custGeom>
              <a:avLst/>
              <a:gdLst>
                <a:gd name="T0" fmla="*/ 99 w 198"/>
                <a:gd name="T1" fmla="*/ 48 h 48"/>
                <a:gd name="T2" fmla="*/ 3 w 198"/>
                <a:gd name="T3" fmla="*/ 11 h 48"/>
                <a:gd name="T4" fmla="*/ 2 w 198"/>
                <a:gd name="T5" fmla="*/ 3 h 48"/>
                <a:gd name="T6" fmla="*/ 10 w 198"/>
                <a:gd name="T7" fmla="*/ 2 h 48"/>
                <a:gd name="T8" fmla="*/ 99 w 198"/>
                <a:gd name="T9" fmla="*/ 37 h 48"/>
                <a:gd name="T10" fmla="*/ 188 w 198"/>
                <a:gd name="T11" fmla="*/ 2 h 48"/>
                <a:gd name="T12" fmla="*/ 196 w 198"/>
                <a:gd name="T13" fmla="*/ 3 h 48"/>
                <a:gd name="T14" fmla="*/ 195 w 198"/>
                <a:gd name="T15" fmla="*/ 11 h 48"/>
                <a:gd name="T16" fmla="*/ 99 w 198"/>
                <a:gd name="T17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8" h="48">
                  <a:moveTo>
                    <a:pt x="99" y="48"/>
                  </a:moveTo>
                  <a:cubicBezTo>
                    <a:pt x="63" y="48"/>
                    <a:pt x="29" y="35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5" y="1"/>
                    <a:pt x="8" y="0"/>
                    <a:pt x="10" y="2"/>
                  </a:cubicBezTo>
                  <a:cubicBezTo>
                    <a:pt x="35" y="25"/>
                    <a:pt x="66" y="37"/>
                    <a:pt x="99" y="37"/>
                  </a:cubicBezTo>
                  <a:cubicBezTo>
                    <a:pt x="132" y="37"/>
                    <a:pt x="164" y="25"/>
                    <a:pt x="188" y="2"/>
                  </a:cubicBezTo>
                  <a:cubicBezTo>
                    <a:pt x="190" y="0"/>
                    <a:pt x="194" y="1"/>
                    <a:pt x="196" y="3"/>
                  </a:cubicBezTo>
                  <a:cubicBezTo>
                    <a:pt x="198" y="5"/>
                    <a:pt x="198" y="9"/>
                    <a:pt x="195" y="11"/>
                  </a:cubicBezTo>
                  <a:cubicBezTo>
                    <a:pt x="169" y="35"/>
                    <a:pt x="135" y="48"/>
                    <a:pt x="99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7" name="Freeform 1568">
              <a:extLst>
                <a:ext uri="{FF2B5EF4-FFF2-40B4-BE49-F238E27FC236}">
                  <a16:creationId xmlns:a16="http://schemas.microsoft.com/office/drawing/2014/main" id="{23EED935-ACCF-D10A-153E-D4B8F3485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60756" y="2599714"/>
              <a:ext cx="47625" cy="46038"/>
            </a:xfrm>
            <a:custGeom>
              <a:avLst/>
              <a:gdLst>
                <a:gd name="T0" fmla="*/ 40 w 45"/>
                <a:gd name="T1" fmla="*/ 45 h 45"/>
                <a:gd name="T2" fmla="*/ 6 w 45"/>
                <a:gd name="T3" fmla="*/ 45 h 45"/>
                <a:gd name="T4" fmla="*/ 2 w 45"/>
                <a:gd name="T5" fmla="*/ 43 h 45"/>
                <a:gd name="T6" fmla="*/ 1 w 45"/>
                <a:gd name="T7" fmla="*/ 38 h 45"/>
                <a:gd name="T8" fmla="*/ 7 w 45"/>
                <a:gd name="T9" fmla="*/ 5 h 45"/>
                <a:gd name="T10" fmla="*/ 14 w 45"/>
                <a:gd name="T11" fmla="*/ 0 h 45"/>
                <a:gd name="T12" fmla="*/ 18 w 45"/>
                <a:gd name="T13" fmla="*/ 7 h 45"/>
                <a:gd name="T14" fmla="*/ 13 w 45"/>
                <a:gd name="T15" fmla="*/ 34 h 45"/>
                <a:gd name="T16" fmla="*/ 40 w 45"/>
                <a:gd name="T17" fmla="*/ 34 h 45"/>
                <a:gd name="T18" fmla="*/ 45 w 45"/>
                <a:gd name="T19" fmla="*/ 39 h 45"/>
                <a:gd name="T20" fmla="*/ 40 w 45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45">
                  <a:moveTo>
                    <a:pt x="40" y="45"/>
                  </a:moveTo>
                  <a:cubicBezTo>
                    <a:pt x="6" y="45"/>
                    <a:pt x="6" y="45"/>
                    <a:pt x="6" y="45"/>
                  </a:cubicBezTo>
                  <a:cubicBezTo>
                    <a:pt x="4" y="45"/>
                    <a:pt x="3" y="44"/>
                    <a:pt x="2" y="43"/>
                  </a:cubicBezTo>
                  <a:cubicBezTo>
                    <a:pt x="1" y="41"/>
                    <a:pt x="0" y="40"/>
                    <a:pt x="1" y="38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2"/>
                    <a:pt x="11" y="0"/>
                    <a:pt x="14" y="0"/>
                  </a:cubicBezTo>
                  <a:cubicBezTo>
                    <a:pt x="17" y="1"/>
                    <a:pt x="19" y="4"/>
                    <a:pt x="18" y="7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43" y="34"/>
                    <a:pt x="45" y="36"/>
                    <a:pt x="45" y="39"/>
                  </a:cubicBezTo>
                  <a:cubicBezTo>
                    <a:pt x="45" y="42"/>
                    <a:pt x="43" y="45"/>
                    <a:pt x="40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8" name="Freeform 1569">
              <a:extLst>
                <a:ext uri="{FF2B5EF4-FFF2-40B4-BE49-F238E27FC236}">
                  <a16:creationId xmlns:a16="http://schemas.microsoft.com/office/drawing/2014/main" id="{0D77FF41-E252-8707-5D5C-989C25783E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90887" y="2856880"/>
              <a:ext cx="46038" cy="47625"/>
            </a:xfrm>
            <a:custGeom>
              <a:avLst/>
              <a:gdLst>
                <a:gd name="T0" fmla="*/ 33 w 45"/>
                <a:gd name="T1" fmla="*/ 45 h 45"/>
                <a:gd name="T2" fmla="*/ 32 w 45"/>
                <a:gd name="T3" fmla="*/ 44 h 45"/>
                <a:gd name="T4" fmla="*/ 27 w 45"/>
                <a:gd name="T5" fmla="*/ 38 h 45"/>
                <a:gd name="T6" fmla="*/ 33 w 45"/>
                <a:gd name="T7" fmla="*/ 11 h 45"/>
                <a:gd name="T8" fmla="*/ 6 w 45"/>
                <a:gd name="T9" fmla="*/ 11 h 45"/>
                <a:gd name="T10" fmla="*/ 0 w 45"/>
                <a:gd name="T11" fmla="*/ 6 h 45"/>
                <a:gd name="T12" fmla="*/ 6 w 45"/>
                <a:gd name="T13" fmla="*/ 0 h 45"/>
                <a:gd name="T14" fmla="*/ 40 w 45"/>
                <a:gd name="T15" fmla="*/ 0 h 45"/>
                <a:gd name="T16" fmla="*/ 44 w 45"/>
                <a:gd name="T17" fmla="*/ 2 h 45"/>
                <a:gd name="T18" fmla="*/ 45 w 45"/>
                <a:gd name="T19" fmla="*/ 7 h 45"/>
                <a:gd name="T20" fmla="*/ 38 w 45"/>
                <a:gd name="T21" fmla="*/ 40 h 45"/>
                <a:gd name="T22" fmla="*/ 33 w 45"/>
                <a:gd name="T2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45">
                  <a:moveTo>
                    <a:pt x="33" y="45"/>
                  </a:moveTo>
                  <a:cubicBezTo>
                    <a:pt x="32" y="45"/>
                    <a:pt x="32" y="45"/>
                    <a:pt x="32" y="44"/>
                  </a:cubicBezTo>
                  <a:cubicBezTo>
                    <a:pt x="29" y="44"/>
                    <a:pt x="27" y="41"/>
                    <a:pt x="27" y="38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1" y="0"/>
                    <a:pt x="43" y="1"/>
                    <a:pt x="44" y="2"/>
                  </a:cubicBezTo>
                  <a:cubicBezTo>
                    <a:pt x="45" y="3"/>
                    <a:pt x="45" y="5"/>
                    <a:pt x="45" y="7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8" y="43"/>
                    <a:pt x="35" y="45"/>
                    <a:pt x="33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59" name="Shape68_20200717_142846">
            <a:extLst>
              <a:ext uri="{FF2B5EF4-FFF2-40B4-BE49-F238E27FC236}">
                <a16:creationId xmlns:a16="http://schemas.microsoft.com/office/drawing/2014/main" id="{B5C58CB2-9FA9-E382-4904-2E81933467E7}"/>
              </a:ext>
            </a:extLst>
          </p:cNvPr>
          <p:cNvGrpSpPr>
            <a:grpSpLocks noChangeAspect="1"/>
          </p:cNvGrpSpPr>
          <p:nvPr/>
        </p:nvGrpSpPr>
        <p:grpSpPr>
          <a:xfrm>
            <a:off x="5742165" y="5166749"/>
            <a:ext cx="707663" cy="546927"/>
            <a:chOff x="-2071650" y="2892436"/>
            <a:chExt cx="468306" cy="361945"/>
          </a:xfrm>
          <a:solidFill>
            <a:schemeClr val="accent1"/>
          </a:solidFill>
        </p:grpSpPr>
        <p:sp>
          <p:nvSpPr>
            <p:cNvPr id="260" name="Freeform 493">
              <a:extLst>
                <a:ext uri="{FF2B5EF4-FFF2-40B4-BE49-F238E27FC236}">
                  <a16:creationId xmlns:a16="http://schemas.microsoft.com/office/drawing/2014/main" id="{B5EAEA39-1DE0-16F4-B055-2EC38DE919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41476" y="2963873"/>
              <a:ext cx="69849" cy="44450"/>
            </a:xfrm>
            <a:custGeom>
              <a:avLst/>
              <a:gdLst>
                <a:gd name="T0" fmla="*/ 17 w 31"/>
                <a:gd name="T1" fmla="*/ 20 h 20"/>
                <a:gd name="T2" fmla="*/ 16 w 31"/>
                <a:gd name="T3" fmla="*/ 20 h 20"/>
                <a:gd name="T4" fmla="*/ 13 w 31"/>
                <a:gd name="T5" fmla="*/ 18 h 20"/>
                <a:gd name="T6" fmla="*/ 16 w 31"/>
                <a:gd name="T7" fmla="*/ 15 h 20"/>
                <a:gd name="T8" fmla="*/ 25 w 31"/>
                <a:gd name="T9" fmla="*/ 13 h 20"/>
                <a:gd name="T10" fmla="*/ 25 w 31"/>
                <a:gd name="T11" fmla="*/ 12 h 20"/>
                <a:gd name="T12" fmla="*/ 19 w 31"/>
                <a:gd name="T13" fmla="*/ 12 h 20"/>
                <a:gd name="T14" fmla="*/ 12 w 31"/>
                <a:gd name="T15" fmla="*/ 14 h 20"/>
                <a:gd name="T16" fmla="*/ 3 w 31"/>
                <a:gd name="T17" fmla="*/ 13 h 20"/>
                <a:gd name="T18" fmla="*/ 0 w 31"/>
                <a:gd name="T19" fmla="*/ 9 h 20"/>
                <a:gd name="T20" fmla="*/ 5 w 31"/>
                <a:gd name="T21" fmla="*/ 3 h 20"/>
                <a:gd name="T22" fmla="*/ 16 w 31"/>
                <a:gd name="T23" fmla="*/ 2 h 20"/>
                <a:gd name="T24" fmla="*/ 18 w 31"/>
                <a:gd name="T25" fmla="*/ 5 h 20"/>
                <a:gd name="T26" fmla="*/ 15 w 31"/>
                <a:gd name="T27" fmla="*/ 7 h 20"/>
                <a:gd name="T28" fmla="*/ 7 w 31"/>
                <a:gd name="T29" fmla="*/ 8 h 20"/>
                <a:gd name="T30" fmla="*/ 5 w 31"/>
                <a:gd name="T31" fmla="*/ 9 h 20"/>
                <a:gd name="T32" fmla="*/ 5 w 31"/>
                <a:gd name="T33" fmla="*/ 9 h 20"/>
                <a:gd name="T34" fmla="*/ 11 w 31"/>
                <a:gd name="T35" fmla="*/ 9 h 20"/>
                <a:gd name="T36" fmla="*/ 17 w 31"/>
                <a:gd name="T37" fmla="*/ 7 h 20"/>
                <a:gd name="T38" fmla="*/ 27 w 31"/>
                <a:gd name="T39" fmla="*/ 8 h 20"/>
                <a:gd name="T40" fmla="*/ 30 w 31"/>
                <a:gd name="T41" fmla="*/ 12 h 20"/>
                <a:gd name="T42" fmla="*/ 30 w 31"/>
                <a:gd name="T43" fmla="*/ 15 h 20"/>
                <a:gd name="T44" fmla="*/ 17 w 31"/>
                <a:gd name="T45" fmla="*/ 20 h 20"/>
                <a:gd name="T46" fmla="*/ 26 w 31"/>
                <a:gd name="T47" fmla="*/ 12 h 20"/>
                <a:gd name="T48" fmla="*/ 26 w 31"/>
                <a:gd name="T49" fmla="*/ 12 h 20"/>
                <a:gd name="T50" fmla="*/ 26 w 31"/>
                <a:gd name="T51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" h="20">
                  <a:moveTo>
                    <a:pt x="17" y="20"/>
                  </a:moveTo>
                  <a:cubicBezTo>
                    <a:pt x="17" y="20"/>
                    <a:pt x="16" y="20"/>
                    <a:pt x="16" y="20"/>
                  </a:cubicBezTo>
                  <a:cubicBezTo>
                    <a:pt x="14" y="20"/>
                    <a:pt x="13" y="19"/>
                    <a:pt x="13" y="18"/>
                  </a:cubicBezTo>
                  <a:cubicBezTo>
                    <a:pt x="13" y="16"/>
                    <a:pt x="15" y="15"/>
                    <a:pt x="16" y="15"/>
                  </a:cubicBezTo>
                  <a:cubicBezTo>
                    <a:pt x="22" y="16"/>
                    <a:pt x="25" y="14"/>
                    <a:pt x="25" y="13"/>
                  </a:cubicBezTo>
                  <a:cubicBezTo>
                    <a:pt x="25" y="13"/>
                    <a:pt x="25" y="13"/>
                    <a:pt x="25" y="12"/>
                  </a:cubicBezTo>
                  <a:cubicBezTo>
                    <a:pt x="22" y="11"/>
                    <a:pt x="19" y="12"/>
                    <a:pt x="19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9" y="15"/>
                    <a:pt x="5" y="15"/>
                    <a:pt x="3" y="13"/>
                  </a:cubicBezTo>
                  <a:cubicBezTo>
                    <a:pt x="0" y="12"/>
                    <a:pt x="0" y="10"/>
                    <a:pt x="0" y="9"/>
                  </a:cubicBezTo>
                  <a:cubicBezTo>
                    <a:pt x="0" y="6"/>
                    <a:pt x="3" y="4"/>
                    <a:pt x="5" y="3"/>
                  </a:cubicBezTo>
                  <a:cubicBezTo>
                    <a:pt x="10" y="0"/>
                    <a:pt x="16" y="2"/>
                    <a:pt x="16" y="2"/>
                  </a:cubicBezTo>
                  <a:cubicBezTo>
                    <a:pt x="18" y="3"/>
                    <a:pt x="18" y="4"/>
                    <a:pt x="18" y="5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5" y="7"/>
                    <a:pt x="11" y="6"/>
                    <a:pt x="7" y="8"/>
                  </a:cubicBezTo>
                  <a:cubicBezTo>
                    <a:pt x="6" y="8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10"/>
                    <a:pt x="8" y="10"/>
                    <a:pt x="11" y="9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7"/>
                    <a:pt x="22" y="6"/>
                    <a:pt x="27" y="8"/>
                  </a:cubicBezTo>
                  <a:cubicBezTo>
                    <a:pt x="29" y="9"/>
                    <a:pt x="30" y="10"/>
                    <a:pt x="30" y="12"/>
                  </a:cubicBezTo>
                  <a:cubicBezTo>
                    <a:pt x="31" y="13"/>
                    <a:pt x="30" y="15"/>
                    <a:pt x="30" y="15"/>
                  </a:cubicBezTo>
                  <a:cubicBezTo>
                    <a:pt x="29" y="16"/>
                    <a:pt x="26" y="20"/>
                    <a:pt x="17" y="20"/>
                  </a:cubicBezTo>
                  <a:close/>
                  <a:moveTo>
                    <a:pt x="26" y="12"/>
                  </a:move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1" name="Freeform 494">
              <a:extLst>
                <a:ext uri="{FF2B5EF4-FFF2-40B4-BE49-F238E27FC236}">
                  <a16:creationId xmlns:a16="http://schemas.microsoft.com/office/drawing/2014/main" id="{35159247-7F9F-1A0E-7F77-C48CFA807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43063" y="2965460"/>
              <a:ext cx="22225" cy="15875"/>
            </a:xfrm>
            <a:custGeom>
              <a:avLst/>
              <a:gdLst>
                <a:gd name="T0" fmla="*/ 7 w 10"/>
                <a:gd name="T1" fmla="*/ 7 h 7"/>
                <a:gd name="T2" fmla="*/ 6 w 10"/>
                <a:gd name="T3" fmla="*/ 7 h 7"/>
                <a:gd name="T4" fmla="*/ 2 w 10"/>
                <a:gd name="T5" fmla="*/ 5 h 7"/>
                <a:gd name="T6" fmla="*/ 1 w 10"/>
                <a:gd name="T7" fmla="*/ 1 h 7"/>
                <a:gd name="T8" fmla="*/ 4 w 10"/>
                <a:gd name="T9" fmla="*/ 0 h 7"/>
                <a:gd name="T10" fmla="*/ 8 w 10"/>
                <a:gd name="T11" fmla="*/ 2 h 7"/>
                <a:gd name="T12" fmla="*/ 9 w 10"/>
                <a:gd name="T13" fmla="*/ 6 h 7"/>
                <a:gd name="T14" fmla="*/ 7 w 10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7">
                  <a:moveTo>
                    <a:pt x="7" y="7"/>
                  </a:moveTo>
                  <a:cubicBezTo>
                    <a:pt x="6" y="7"/>
                    <a:pt x="6" y="7"/>
                    <a:pt x="6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3"/>
                    <a:pt x="10" y="5"/>
                    <a:pt x="9" y="6"/>
                  </a:cubicBezTo>
                  <a:cubicBezTo>
                    <a:pt x="8" y="7"/>
                    <a:pt x="8" y="7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2" name="Freeform 495">
              <a:extLst>
                <a:ext uri="{FF2B5EF4-FFF2-40B4-BE49-F238E27FC236}">
                  <a16:creationId xmlns:a16="http://schemas.microsoft.com/office/drawing/2014/main" id="{230CF4D5-4E94-1235-C97A-55905419C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92264" y="2995623"/>
              <a:ext cx="22225" cy="14288"/>
            </a:xfrm>
            <a:custGeom>
              <a:avLst/>
              <a:gdLst>
                <a:gd name="T0" fmla="*/ 7 w 10"/>
                <a:gd name="T1" fmla="*/ 7 h 7"/>
                <a:gd name="T2" fmla="*/ 6 w 10"/>
                <a:gd name="T3" fmla="*/ 7 h 7"/>
                <a:gd name="T4" fmla="*/ 2 w 10"/>
                <a:gd name="T5" fmla="*/ 4 h 7"/>
                <a:gd name="T6" fmla="*/ 1 w 10"/>
                <a:gd name="T7" fmla="*/ 1 h 7"/>
                <a:gd name="T8" fmla="*/ 4 w 10"/>
                <a:gd name="T9" fmla="*/ 0 h 7"/>
                <a:gd name="T10" fmla="*/ 8 w 10"/>
                <a:gd name="T11" fmla="*/ 2 h 7"/>
                <a:gd name="T12" fmla="*/ 9 w 10"/>
                <a:gd name="T13" fmla="*/ 6 h 7"/>
                <a:gd name="T14" fmla="*/ 7 w 10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7">
                  <a:moveTo>
                    <a:pt x="7" y="7"/>
                  </a:moveTo>
                  <a:cubicBezTo>
                    <a:pt x="7" y="7"/>
                    <a:pt x="6" y="7"/>
                    <a:pt x="6" y="7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0" y="3"/>
                    <a:pt x="10" y="5"/>
                    <a:pt x="9" y="6"/>
                  </a:cubicBezTo>
                  <a:cubicBezTo>
                    <a:pt x="9" y="7"/>
                    <a:pt x="8" y="7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3" name="Freeform 496">
              <a:extLst>
                <a:ext uri="{FF2B5EF4-FFF2-40B4-BE49-F238E27FC236}">
                  <a16:creationId xmlns:a16="http://schemas.microsoft.com/office/drawing/2014/main" id="{4611D6B8-560D-4F3C-A9BF-92785F378C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49423" y="2906722"/>
              <a:ext cx="284158" cy="163514"/>
            </a:xfrm>
            <a:custGeom>
              <a:avLst/>
              <a:gdLst>
                <a:gd name="T0" fmla="*/ 47 w 126"/>
                <a:gd name="T1" fmla="*/ 72 h 72"/>
                <a:gd name="T2" fmla="*/ 46 w 126"/>
                <a:gd name="T3" fmla="*/ 72 h 72"/>
                <a:gd name="T4" fmla="*/ 46 w 126"/>
                <a:gd name="T5" fmla="*/ 72 h 72"/>
                <a:gd name="T6" fmla="*/ 27 w 126"/>
                <a:gd name="T7" fmla="*/ 72 h 72"/>
                <a:gd name="T8" fmla="*/ 25 w 126"/>
                <a:gd name="T9" fmla="*/ 71 h 72"/>
                <a:gd name="T10" fmla="*/ 1 w 126"/>
                <a:gd name="T11" fmla="*/ 58 h 72"/>
                <a:gd name="T12" fmla="*/ 0 w 126"/>
                <a:gd name="T13" fmla="*/ 56 h 72"/>
                <a:gd name="T14" fmla="*/ 1 w 126"/>
                <a:gd name="T15" fmla="*/ 54 h 72"/>
                <a:gd name="T16" fmla="*/ 4 w 126"/>
                <a:gd name="T17" fmla="*/ 51 h 72"/>
                <a:gd name="T18" fmla="*/ 1 w 126"/>
                <a:gd name="T19" fmla="*/ 47 h 72"/>
                <a:gd name="T20" fmla="*/ 0 w 126"/>
                <a:gd name="T21" fmla="*/ 45 h 72"/>
                <a:gd name="T22" fmla="*/ 1 w 126"/>
                <a:gd name="T23" fmla="*/ 43 h 72"/>
                <a:gd name="T24" fmla="*/ 78 w 126"/>
                <a:gd name="T25" fmla="*/ 1 h 72"/>
                <a:gd name="T26" fmla="*/ 80 w 126"/>
                <a:gd name="T27" fmla="*/ 1 h 72"/>
                <a:gd name="T28" fmla="*/ 99 w 126"/>
                <a:gd name="T29" fmla="*/ 0 h 72"/>
                <a:gd name="T30" fmla="*/ 101 w 126"/>
                <a:gd name="T31" fmla="*/ 0 h 72"/>
                <a:gd name="T32" fmla="*/ 125 w 126"/>
                <a:gd name="T33" fmla="*/ 14 h 72"/>
                <a:gd name="T34" fmla="*/ 126 w 126"/>
                <a:gd name="T35" fmla="*/ 16 h 72"/>
                <a:gd name="T36" fmla="*/ 125 w 126"/>
                <a:gd name="T37" fmla="*/ 18 h 72"/>
                <a:gd name="T38" fmla="*/ 122 w 126"/>
                <a:gd name="T39" fmla="*/ 21 h 72"/>
                <a:gd name="T40" fmla="*/ 125 w 126"/>
                <a:gd name="T41" fmla="*/ 25 h 72"/>
                <a:gd name="T42" fmla="*/ 126 w 126"/>
                <a:gd name="T43" fmla="*/ 27 h 72"/>
                <a:gd name="T44" fmla="*/ 125 w 126"/>
                <a:gd name="T45" fmla="*/ 29 h 72"/>
                <a:gd name="T46" fmla="*/ 48 w 126"/>
                <a:gd name="T47" fmla="*/ 72 h 72"/>
                <a:gd name="T48" fmla="*/ 47 w 126"/>
                <a:gd name="T49" fmla="*/ 72 h 72"/>
                <a:gd name="T50" fmla="*/ 37 w 126"/>
                <a:gd name="T51" fmla="*/ 65 h 72"/>
                <a:gd name="T52" fmla="*/ 47 w 126"/>
                <a:gd name="T53" fmla="*/ 67 h 72"/>
                <a:gd name="T54" fmla="*/ 119 w 126"/>
                <a:gd name="T55" fmla="*/ 27 h 72"/>
                <a:gd name="T56" fmla="*/ 117 w 126"/>
                <a:gd name="T57" fmla="*/ 21 h 72"/>
                <a:gd name="T58" fmla="*/ 119 w 126"/>
                <a:gd name="T59" fmla="*/ 16 h 72"/>
                <a:gd name="T60" fmla="*/ 100 w 126"/>
                <a:gd name="T61" fmla="*/ 5 h 72"/>
                <a:gd name="T62" fmla="*/ 79 w 126"/>
                <a:gd name="T63" fmla="*/ 5 h 72"/>
                <a:gd name="T64" fmla="*/ 7 w 126"/>
                <a:gd name="T65" fmla="*/ 45 h 72"/>
                <a:gd name="T66" fmla="*/ 9 w 126"/>
                <a:gd name="T67" fmla="*/ 51 h 72"/>
                <a:gd name="T68" fmla="*/ 7 w 126"/>
                <a:gd name="T69" fmla="*/ 56 h 72"/>
                <a:gd name="T70" fmla="*/ 26 w 126"/>
                <a:gd name="T71" fmla="*/ 67 h 72"/>
                <a:gd name="T72" fmla="*/ 37 w 126"/>
                <a:gd name="T73" fmla="*/ 6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6" h="72">
                  <a:moveTo>
                    <a:pt x="47" y="72"/>
                  </a:moveTo>
                  <a:cubicBezTo>
                    <a:pt x="47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1" y="69"/>
                    <a:pt x="33" y="69"/>
                    <a:pt x="27" y="72"/>
                  </a:cubicBezTo>
                  <a:cubicBezTo>
                    <a:pt x="27" y="72"/>
                    <a:pt x="26" y="72"/>
                    <a:pt x="25" y="71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1" y="58"/>
                    <a:pt x="0" y="57"/>
                    <a:pt x="0" y="56"/>
                  </a:cubicBezTo>
                  <a:cubicBezTo>
                    <a:pt x="0" y="55"/>
                    <a:pt x="0" y="55"/>
                    <a:pt x="1" y="54"/>
                  </a:cubicBezTo>
                  <a:cubicBezTo>
                    <a:pt x="3" y="53"/>
                    <a:pt x="4" y="52"/>
                    <a:pt x="4" y="51"/>
                  </a:cubicBezTo>
                  <a:cubicBezTo>
                    <a:pt x="4" y="49"/>
                    <a:pt x="3" y="48"/>
                    <a:pt x="1" y="47"/>
                  </a:cubicBezTo>
                  <a:cubicBezTo>
                    <a:pt x="0" y="47"/>
                    <a:pt x="0" y="46"/>
                    <a:pt x="0" y="45"/>
                  </a:cubicBezTo>
                  <a:cubicBezTo>
                    <a:pt x="0" y="44"/>
                    <a:pt x="1" y="43"/>
                    <a:pt x="1" y="43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0" y="1"/>
                  </a:cubicBezTo>
                  <a:cubicBezTo>
                    <a:pt x="86" y="3"/>
                    <a:pt x="94" y="3"/>
                    <a:pt x="99" y="0"/>
                  </a:cubicBezTo>
                  <a:cubicBezTo>
                    <a:pt x="100" y="0"/>
                    <a:pt x="100" y="0"/>
                    <a:pt x="101" y="0"/>
                  </a:cubicBezTo>
                  <a:cubicBezTo>
                    <a:pt x="125" y="14"/>
                    <a:pt x="125" y="14"/>
                    <a:pt x="125" y="14"/>
                  </a:cubicBezTo>
                  <a:cubicBezTo>
                    <a:pt x="126" y="14"/>
                    <a:pt x="126" y="15"/>
                    <a:pt x="126" y="16"/>
                  </a:cubicBezTo>
                  <a:cubicBezTo>
                    <a:pt x="126" y="17"/>
                    <a:pt x="126" y="17"/>
                    <a:pt x="125" y="18"/>
                  </a:cubicBezTo>
                  <a:cubicBezTo>
                    <a:pt x="123" y="19"/>
                    <a:pt x="122" y="20"/>
                    <a:pt x="122" y="21"/>
                  </a:cubicBezTo>
                  <a:cubicBezTo>
                    <a:pt x="122" y="23"/>
                    <a:pt x="123" y="24"/>
                    <a:pt x="125" y="25"/>
                  </a:cubicBezTo>
                  <a:cubicBezTo>
                    <a:pt x="126" y="26"/>
                    <a:pt x="126" y="26"/>
                    <a:pt x="126" y="27"/>
                  </a:cubicBezTo>
                  <a:cubicBezTo>
                    <a:pt x="126" y="28"/>
                    <a:pt x="126" y="29"/>
                    <a:pt x="125" y="29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72"/>
                    <a:pt x="48" y="72"/>
                    <a:pt x="47" y="72"/>
                  </a:cubicBezTo>
                  <a:close/>
                  <a:moveTo>
                    <a:pt x="37" y="65"/>
                  </a:moveTo>
                  <a:cubicBezTo>
                    <a:pt x="40" y="65"/>
                    <a:pt x="44" y="65"/>
                    <a:pt x="47" y="67"/>
                  </a:cubicBezTo>
                  <a:cubicBezTo>
                    <a:pt x="119" y="27"/>
                    <a:pt x="119" y="27"/>
                    <a:pt x="119" y="27"/>
                  </a:cubicBezTo>
                  <a:cubicBezTo>
                    <a:pt x="118" y="25"/>
                    <a:pt x="117" y="23"/>
                    <a:pt x="117" y="21"/>
                  </a:cubicBezTo>
                  <a:cubicBezTo>
                    <a:pt x="117" y="20"/>
                    <a:pt x="118" y="18"/>
                    <a:pt x="119" y="16"/>
                  </a:cubicBezTo>
                  <a:cubicBezTo>
                    <a:pt x="100" y="5"/>
                    <a:pt x="100" y="5"/>
                    <a:pt x="100" y="5"/>
                  </a:cubicBezTo>
                  <a:cubicBezTo>
                    <a:pt x="94" y="8"/>
                    <a:pt x="86" y="8"/>
                    <a:pt x="79" y="5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7"/>
                    <a:pt x="9" y="49"/>
                    <a:pt x="9" y="51"/>
                  </a:cubicBezTo>
                  <a:cubicBezTo>
                    <a:pt x="9" y="53"/>
                    <a:pt x="8" y="54"/>
                    <a:pt x="7" y="56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9" y="65"/>
                    <a:pt x="33" y="65"/>
                    <a:pt x="37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4" name="Freeform 497">
              <a:extLst>
                <a:ext uri="{FF2B5EF4-FFF2-40B4-BE49-F238E27FC236}">
                  <a16:creationId xmlns:a16="http://schemas.microsoft.com/office/drawing/2014/main" id="{4D1B516A-BF12-7A8F-8617-C7E593D4CA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71648" y="3001973"/>
              <a:ext cx="42862" cy="38100"/>
            </a:xfrm>
            <a:custGeom>
              <a:avLst/>
              <a:gdLst>
                <a:gd name="T0" fmla="*/ 12 w 19"/>
                <a:gd name="T1" fmla="*/ 17 h 17"/>
                <a:gd name="T2" fmla="*/ 11 w 19"/>
                <a:gd name="T3" fmla="*/ 16 h 17"/>
                <a:gd name="T4" fmla="*/ 1 w 19"/>
                <a:gd name="T5" fmla="*/ 11 h 17"/>
                <a:gd name="T6" fmla="*/ 0 w 19"/>
                <a:gd name="T7" fmla="*/ 9 h 17"/>
                <a:gd name="T8" fmla="*/ 1 w 19"/>
                <a:gd name="T9" fmla="*/ 6 h 17"/>
                <a:gd name="T10" fmla="*/ 11 w 19"/>
                <a:gd name="T11" fmla="*/ 1 h 17"/>
                <a:gd name="T12" fmla="*/ 14 w 19"/>
                <a:gd name="T13" fmla="*/ 1 h 17"/>
                <a:gd name="T14" fmla="*/ 19 w 19"/>
                <a:gd name="T15" fmla="*/ 9 h 17"/>
                <a:gd name="T16" fmla="*/ 14 w 19"/>
                <a:gd name="T17" fmla="*/ 16 h 17"/>
                <a:gd name="T18" fmla="*/ 12 w 19"/>
                <a:gd name="T19" fmla="*/ 17 h 17"/>
                <a:gd name="T20" fmla="*/ 7 w 19"/>
                <a:gd name="T21" fmla="*/ 9 h 17"/>
                <a:gd name="T22" fmla="*/ 12 w 19"/>
                <a:gd name="T23" fmla="*/ 11 h 17"/>
                <a:gd name="T24" fmla="*/ 14 w 19"/>
                <a:gd name="T25" fmla="*/ 9 h 17"/>
                <a:gd name="T26" fmla="*/ 12 w 19"/>
                <a:gd name="T27" fmla="*/ 6 h 17"/>
                <a:gd name="T28" fmla="*/ 7 w 19"/>
                <a:gd name="T2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7">
                  <a:moveTo>
                    <a:pt x="12" y="17"/>
                  </a:moveTo>
                  <a:cubicBezTo>
                    <a:pt x="12" y="17"/>
                    <a:pt x="12" y="17"/>
                    <a:pt x="11" y="16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0"/>
                    <a:pt x="0" y="10"/>
                    <a:pt x="0" y="9"/>
                  </a:cubicBezTo>
                  <a:cubicBezTo>
                    <a:pt x="0" y="8"/>
                    <a:pt x="0" y="7"/>
                    <a:pt x="1" y="6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0"/>
                    <a:pt x="13" y="0"/>
                    <a:pt x="14" y="1"/>
                  </a:cubicBezTo>
                  <a:cubicBezTo>
                    <a:pt x="17" y="3"/>
                    <a:pt x="19" y="6"/>
                    <a:pt x="19" y="9"/>
                  </a:cubicBezTo>
                  <a:cubicBezTo>
                    <a:pt x="19" y="12"/>
                    <a:pt x="17" y="14"/>
                    <a:pt x="14" y="16"/>
                  </a:cubicBezTo>
                  <a:cubicBezTo>
                    <a:pt x="13" y="17"/>
                    <a:pt x="13" y="17"/>
                    <a:pt x="12" y="17"/>
                  </a:cubicBezTo>
                  <a:close/>
                  <a:moveTo>
                    <a:pt x="7" y="9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10"/>
                    <a:pt x="14" y="9"/>
                  </a:cubicBezTo>
                  <a:cubicBezTo>
                    <a:pt x="14" y="8"/>
                    <a:pt x="13" y="7"/>
                    <a:pt x="12" y="6"/>
                  </a:cubicBezTo>
                  <a:lnTo>
                    <a:pt x="7" y="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5" name="Freeform 498">
              <a:extLst>
                <a:ext uri="{FF2B5EF4-FFF2-40B4-BE49-F238E27FC236}">
                  <a16:creationId xmlns:a16="http://schemas.microsoft.com/office/drawing/2014/main" id="{FE8A0567-3FC1-665B-1E14-05D3CB08D0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95449" y="3051185"/>
              <a:ext cx="58737" cy="31750"/>
            </a:xfrm>
            <a:custGeom>
              <a:avLst/>
              <a:gdLst>
                <a:gd name="T0" fmla="*/ 13 w 26"/>
                <a:gd name="T1" fmla="*/ 14 h 14"/>
                <a:gd name="T2" fmla="*/ 12 w 26"/>
                <a:gd name="T3" fmla="*/ 13 h 14"/>
                <a:gd name="T4" fmla="*/ 1 w 26"/>
                <a:gd name="T5" fmla="*/ 7 h 14"/>
                <a:gd name="T6" fmla="*/ 0 w 26"/>
                <a:gd name="T7" fmla="*/ 5 h 14"/>
                <a:gd name="T8" fmla="*/ 1 w 26"/>
                <a:gd name="T9" fmla="*/ 3 h 14"/>
                <a:gd name="T10" fmla="*/ 24 w 26"/>
                <a:gd name="T11" fmla="*/ 3 h 14"/>
                <a:gd name="T12" fmla="*/ 24 w 26"/>
                <a:gd name="T13" fmla="*/ 3 h 14"/>
                <a:gd name="T14" fmla="*/ 26 w 26"/>
                <a:gd name="T15" fmla="*/ 6 h 14"/>
                <a:gd name="T16" fmla="*/ 24 w 26"/>
                <a:gd name="T17" fmla="*/ 8 h 14"/>
                <a:gd name="T18" fmla="*/ 14 w 26"/>
                <a:gd name="T19" fmla="*/ 13 h 14"/>
                <a:gd name="T20" fmla="*/ 13 w 26"/>
                <a:gd name="T21" fmla="*/ 14 h 14"/>
                <a:gd name="T22" fmla="*/ 8 w 26"/>
                <a:gd name="T23" fmla="*/ 6 h 14"/>
                <a:gd name="T24" fmla="*/ 13 w 26"/>
                <a:gd name="T25" fmla="*/ 8 h 14"/>
                <a:gd name="T26" fmla="*/ 17 w 26"/>
                <a:gd name="T27" fmla="*/ 6 h 14"/>
                <a:gd name="T28" fmla="*/ 8 w 26"/>
                <a:gd name="T2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4">
                  <a:moveTo>
                    <a:pt x="13" y="14"/>
                  </a:moveTo>
                  <a:cubicBezTo>
                    <a:pt x="12" y="14"/>
                    <a:pt x="12" y="14"/>
                    <a:pt x="12" y="13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6"/>
                    <a:pt x="0" y="5"/>
                  </a:cubicBezTo>
                  <a:cubicBezTo>
                    <a:pt x="0" y="4"/>
                    <a:pt x="0" y="4"/>
                    <a:pt x="1" y="3"/>
                  </a:cubicBezTo>
                  <a:cubicBezTo>
                    <a:pt x="8" y="0"/>
                    <a:pt x="18" y="0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5" y="4"/>
                    <a:pt x="26" y="5"/>
                    <a:pt x="26" y="6"/>
                  </a:cubicBezTo>
                  <a:cubicBezTo>
                    <a:pt x="26" y="6"/>
                    <a:pt x="25" y="7"/>
                    <a:pt x="24" y="8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4"/>
                    <a:pt x="13" y="14"/>
                    <a:pt x="13" y="14"/>
                  </a:cubicBezTo>
                  <a:close/>
                  <a:moveTo>
                    <a:pt x="8" y="6"/>
                  </a:moveTo>
                  <a:cubicBezTo>
                    <a:pt x="13" y="8"/>
                    <a:pt x="13" y="8"/>
                    <a:pt x="13" y="8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4" y="5"/>
                    <a:pt x="11" y="5"/>
                    <a:pt x="8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6" name="Freeform 499">
              <a:extLst>
                <a:ext uri="{FF2B5EF4-FFF2-40B4-BE49-F238E27FC236}">
                  <a16:creationId xmlns:a16="http://schemas.microsoft.com/office/drawing/2014/main" id="{BE1CEEAA-F925-AD0E-90BB-62D434005A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76390" y="2892436"/>
              <a:ext cx="57149" cy="30163"/>
            </a:xfrm>
            <a:custGeom>
              <a:avLst/>
              <a:gdLst>
                <a:gd name="T0" fmla="*/ 13 w 25"/>
                <a:gd name="T1" fmla="*/ 13 h 13"/>
                <a:gd name="T2" fmla="*/ 1 w 25"/>
                <a:gd name="T3" fmla="*/ 11 h 13"/>
                <a:gd name="T4" fmla="*/ 0 w 25"/>
                <a:gd name="T5" fmla="*/ 9 h 13"/>
                <a:gd name="T6" fmla="*/ 1 w 25"/>
                <a:gd name="T7" fmla="*/ 7 h 13"/>
                <a:gd name="T8" fmla="*/ 12 w 25"/>
                <a:gd name="T9" fmla="*/ 1 h 13"/>
                <a:gd name="T10" fmla="*/ 14 w 25"/>
                <a:gd name="T11" fmla="*/ 1 h 13"/>
                <a:gd name="T12" fmla="*/ 24 w 25"/>
                <a:gd name="T13" fmla="*/ 6 h 13"/>
                <a:gd name="T14" fmla="*/ 25 w 25"/>
                <a:gd name="T15" fmla="*/ 9 h 13"/>
                <a:gd name="T16" fmla="*/ 24 w 25"/>
                <a:gd name="T17" fmla="*/ 11 h 13"/>
                <a:gd name="T18" fmla="*/ 13 w 25"/>
                <a:gd name="T19" fmla="*/ 13 h 13"/>
                <a:gd name="T20" fmla="*/ 8 w 25"/>
                <a:gd name="T21" fmla="*/ 8 h 13"/>
                <a:gd name="T22" fmla="*/ 17 w 25"/>
                <a:gd name="T23" fmla="*/ 8 h 13"/>
                <a:gd name="T24" fmla="*/ 13 w 25"/>
                <a:gd name="T25" fmla="*/ 6 h 13"/>
                <a:gd name="T26" fmla="*/ 8 w 25"/>
                <a:gd name="T27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13">
                  <a:moveTo>
                    <a:pt x="13" y="13"/>
                  </a:moveTo>
                  <a:cubicBezTo>
                    <a:pt x="9" y="13"/>
                    <a:pt x="4" y="13"/>
                    <a:pt x="1" y="11"/>
                  </a:cubicBezTo>
                  <a:cubicBezTo>
                    <a:pt x="0" y="10"/>
                    <a:pt x="0" y="10"/>
                    <a:pt x="0" y="9"/>
                  </a:cubicBezTo>
                  <a:cubicBezTo>
                    <a:pt x="0" y="8"/>
                    <a:pt x="0" y="7"/>
                    <a:pt x="1" y="7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3" y="0"/>
                    <a:pt x="14" y="1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5" y="7"/>
                    <a:pt x="25" y="8"/>
                    <a:pt x="25" y="9"/>
                  </a:cubicBezTo>
                  <a:cubicBezTo>
                    <a:pt x="25" y="10"/>
                    <a:pt x="25" y="10"/>
                    <a:pt x="24" y="11"/>
                  </a:cubicBezTo>
                  <a:cubicBezTo>
                    <a:pt x="21" y="13"/>
                    <a:pt x="17" y="13"/>
                    <a:pt x="13" y="13"/>
                  </a:cubicBezTo>
                  <a:close/>
                  <a:moveTo>
                    <a:pt x="8" y="8"/>
                  </a:moveTo>
                  <a:cubicBezTo>
                    <a:pt x="11" y="9"/>
                    <a:pt x="14" y="9"/>
                    <a:pt x="17" y="8"/>
                  </a:cubicBezTo>
                  <a:cubicBezTo>
                    <a:pt x="13" y="6"/>
                    <a:pt x="13" y="6"/>
                    <a:pt x="13" y="6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7" name="Freeform 500">
              <a:extLst>
                <a:ext uri="{FF2B5EF4-FFF2-40B4-BE49-F238E27FC236}">
                  <a16:creationId xmlns:a16="http://schemas.microsoft.com/office/drawing/2014/main" id="{E2A01096-30DD-A5D1-AC77-00CF2B3143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85904" y="2935298"/>
              <a:ext cx="44449" cy="39688"/>
            </a:xfrm>
            <a:custGeom>
              <a:avLst/>
              <a:gdLst>
                <a:gd name="T0" fmla="*/ 7 w 20"/>
                <a:gd name="T1" fmla="*/ 17 h 17"/>
                <a:gd name="T2" fmla="*/ 6 w 20"/>
                <a:gd name="T3" fmla="*/ 16 h 17"/>
                <a:gd name="T4" fmla="*/ 0 w 20"/>
                <a:gd name="T5" fmla="*/ 8 h 17"/>
                <a:gd name="T6" fmla="*/ 6 w 20"/>
                <a:gd name="T7" fmla="*/ 1 h 17"/>
                <a:gd name="T8" fmla="*/ 8 w 20"/>
                <a:gd name="T9" fmla="*/ 1 h 17"/>
                <a:gd name="T10" fmla="*/ 19 w 20"/>
                <a:gd name="T11" fmla="*/ 6 h 17"/>
                <a:gd name="T12" fmla="*/ 20 w 20"/>
                <a:gd name="T13" fmla="*/ 9 h 17"/>
                <a:gd name="T14" fmla="*/ 19 w 20"/>
                <a:gd name="T15" fmla="*/ 11 h 17"/>
                <a:gd name="T16" fmla="*/ 8 w 20"/>
                <a:gd name="T17" fmla="*/ 16 h 17"/>
                <a:gd name="T18" fmla="*/ 7 w 20"/>
                <a:gd name="T19" fmla="*/ 17 h 17"/>
                <a:gd name="T20" fmla="*/ 7 w 20"/>
                <a:gd name="T21" fmla="*/ 6 h 17"/>
                <a:gd name="T22" fmla="*/ 5 w 20"/>
                <a:gd name="T23" fmla="*/ 8 h 17"/>
                <a:gd name="T24" fmla="*/ 7 w 20"/>
                <a:gd name="T25" fmla="*/ 11 h 17"/>
                <a:gd name="T26" fmla="*/ 12 w 20"/>
                <a:gd name="T27" fmla="*/ 9 h 17"/>
                <a:gd name="T28" fmla="*/ 7 w 20"/>
                <a:gd name="T29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17">
                  <a:moveTo>
                    <a:pt x="7" y="17"/>
                  </a:moveTo>
                  <a:cubicBezTo>
                    <a:pt x="7" y="17"/>
                    <a:pt x="6" y="17"/>
                    <a:pt x="6" y="16"/>
                  </a:cubicBezTo>
                  <a:cubicBezTo>
                    <a:pt x="2" y="14"/>
                    <a:pt x="0" y="12"/>
                    <a:pt x="0" y="8"/>
                  </a:cubicBezTo>
                  <a:cubicBezTo>
                    <a:pt x="0" y="5"/>
                    <a:pt x="2" y="3"/>
                    <a:pt x="6" y="1"/>
                  </a:cubicBezTo>
                  <a:cubicBezTo>
                    <a:pt x="6" y="0"/>
                    <a:pt x="7" y="0"/>
                    <a:pt x="8" y="1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9" y="7"/>
                    <a:pt x="20" y="8"/>
                    <a:pt x="20" y="9"/>
                  </a:cubicBezTo>
                  <a:cubicBezTo>
                    <a:pt x="20" y="9"/>
                    <a:pt x="19" y="10"/>
                    <a:pt x="19" y="11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7"/>
                    <a:pt x="7" y="17"/>
                    <a:pt x="7" y="17"/>
                  </a:cubicBezTo>
                  <a:close/>
                  <a:moveTo>
                    <a:pt x="7" y="6"/>
                  </a:moveTo>
                  <a:cubicBezTo>
                    <a:pt x="6" y="6"/>
                    <a:pt x="5" y="7"/>
                    <a:pt x="5" y="8"/>
                  </a:cubicBezTo>
                  <a:cubicBezTo>
                    <a:pt x="5" y="9"/>
                    <a:pt x="6" y="10"/>
                    <a:pt x="7" y="11"/>
                  </a:cubicBezTo>
                  <a:cubicBezTo>
                    <a:pt x="12" y="9"/>
                    <a:pt x="12" y="9"/>
                    <a:pt x="12" y="9"/>
                  </a:cubicBezTo>
                  <a:lnTo>
                    <a:pt x="7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8" name="Freeform 501">
              <a:extLst>
                <a:ext uri="{FF2B5EF4-FFF2-40B4-BE49-F238E27FC236}">
                  <a16:creationId xmlns:a16="http://schemas.microsoft.com/office/drawing/2014/main" id="{DB36AEC3-D711-FA2D-0EC8-7623020172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84338" y="2940057"/>
              <a:ext cx="153985" cy="93664"/>
            </a:xfrm>
            <a:custGeom>
              <a:avLst/>
              <a:gdLst>
                <a:gd name="T0" fmla="*/ 34 w 68"/>
                <a:gd name="T1" fmla="*/ 41 h 41"/>
                <a:gd name="T2" fmla="*/ 11 w 68"/>
                <a:gd name="T3" fmla="*/ 36 h 41"/>
                <a:gd name="T4" fmla="*/ 0 w 68"/>
                <a:gd name="T5" fmla="*/ 21 h 41"/>
                <a:gd name="T6" fmla="*/ 11 w 68"/>
                <a:gd name="T7" fmla="*/ 7 h 41"/>
                <a:gd name="T8" fmla="*/ 58 w 68"/>
                <a:gd name="T9" fmla="*/ 7 h 41"/>
                <a:gd name="T10" fmla="*/ 58 w 68"/>
                <a:gd name="T11" fmla="*/ 7 h 41"/>
                <a:gd name="T12" fmla="*/ 68 w 68"/>
                <a:gd name="T13" fmla="*/ 21 h 41"/>
                <a:gd name="T14" fmla="*/ 58 w 68"/>
                <a:gd name="T15" fmla="*/ 36 h 41"/>
                <a:gd name="T16" fmla="*/ 34 w 68"/>
                <a:gd name="T17" fmla="*/ 41 h 41"/>
                <a:gd name="T18" fmla="*/ 34 w 68"/>
                <a:gd name="T19" fmla="*/ 6 h 41"/>
                <a:gd name="T20" fmla="*/ 13 w 68"/>
                <a:gd name="T21" fmla="*/ 11 h 41"/>
                <a:gd name="T22" fmla="*/ 5 w 68"/>
                <a:gd name="T23" fmla="*/ 21 h 41"/>
                <a:gd name="T24" fmla="*/ 13 w 68"/>
                <a:gd name="T25" fmla="*/ 31 h 41"/>
                <a:gd name="T26" fmla="*/ 55 w 68"/>
                <a:gd name="T27" fmla="*/ 31 h 41"/>
                <a:gd name="T28" fmla="*/ 63 w 68"/>
                <a:gd name="T29" fmla="*/ 21 h 41"/>
                <a:gd name="T30" fmla="*/ 55 w 68"/>
                <a:gd name="T31" fmla="*/ 11 h 41"/>
                <a:gd name="T32" fmla="*/ 55 w 68"/>
                <a:gd name="T33" fmla="*/ 11 h 41"/>
                <a:gd name="T34" fmla="*/ 34 w 68"/>
                <a:gd name="T35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8" h="41">
                  <a:moveTo>
                    <a:pt x="34" y="41"/>
                  </a:moveTo>
                  <a:cubicBezTo>
                    <a:pt x="26" y="41"/>
                    <a:pt x="17" y="39"/>
                    <a:pt x="11" y="36"/>
                  </a:cubicBezTo>
                  <a:cubicBezTo>
                    <a:pt x="4" y="32"/>
                    <a:pt x="0" y="27"/>
                    <a:pt x="0" y="21"/>
                  </a:cubicBezTo>
                  <a:cubicBezTo>
                    <a:pt x="0" y="16"/>
                    <a:pt x="4" y="10"/>
                    <a:pt x="11" y="7"/>
                  </a:cubicBezTo>
                  <a:cubicBezTo>
                    <a:pt x="24" y="0"/>
                    <a:pt x="45" y="0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65" y="10"/>
                    <a:pt x="68" y="16"/>
                    <a:pt x="68" y="21"/>
                  </a:cubicBezTo>
                  <a:cubicBezTo>
                    <a:pt x="68" y="27"/>
                    <a:pt x="65" y="32"/>
                    <a:pt x="58" y="36"/>
                  </a:cubicBezTo>
                  <a:cubicBezTo>
                    <a:pt x="51" y="39"/>
                    <a:pt x="43" y="41"/>
                    <a:pt x="34" y="41"/>
                  </a:cubicBezTo>
                  <a:close/>
                  <a:moveTo>
                    <a:pt x="34" y="6"/>
                  </a:moveTo>
                  <a:cubicBezTo>
                    <a:pt x="27" y="6"/>
                    <a:pt x="19" y="8"/>
                    <a:pt x="13" y="11"/>
                  </a:cubicBezTo>
                  <a:cubicBezTo>
                    <a:pt x="8" y="14"/>
                    <a:pt x="5" y="17"/>
                    <a:pt x="5" y="21"/>
                  </a:cubicBezTo>
                  <a:cubicBezTo>
                    <a:pt x="5" y="25"/>
                    <a:pt x="8" y="28"/>
                    <a:pt x="13" y="31"/>
                  </a:cubicBezTo>
                  <a:cubicBezTo>
                    <a:pt x="25" y="38"/>
                    <a:pt x="44" y="38"/>
                    <a:pt x="55" y="31"/>
                  </a:cubicBezTo>
                  <a:cubicBezTo>
                    <a:pt x="61" y="28"/>
                    <a:pt x="63" y="25"/>
                    <a:pt x="63" y="21"/>
                  </a:cubicBezTo>
                  <a:cubicBezTo>
                    <a:pt x="63" y="17"/>
                    <a:pt x="61" y="14"/>
                    <a:pt x="55" y="1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0" y="8"/>
                    <a:pt x="42" y="6"/>
                    <a:pt x="34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9" name="Freeform 502">
              <a:extLst>
                <a:ext uri="{FF2B5EF4-FFF2-40B4-BE49-F238E27FC236}">
                  <a16:creationId xmlns:a16="http://schemas.microsoft.com/office/drawing/2014/main" id="{2C072F05-E139-ABD3-A27C-B3834988D13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71650" y="2949579"/>
              <a:ext cx="330194" cy="166688"/>
            </a:xfrm>
            <a:custGeom>
              <a:avLst/>
              <a:gdLst>
                <a:gd name="T0" fmla="*/ 47 w 147"/>
                <a:gd name="T1" fmla="*/ 74 h 74"/>
                <a:gd name="T2" fmla="*/ 46 w 147"/>
                <a:gd name="T3" fmla="*/ 74 h 74"/>
                <a:gd name="T4" fmla="*/ 1 w 147"/>
                <a:gd name="T5" fmla="*/ 49 h 74"/>
                <a:gd name="T6" fmla="*/ 0 w 147"/>
                <a:gd name="T7" fmla="*/ 47 h 74"/>
                <a:gd name="T8" fmla="*/ 0 w 147"/>
                <a:gd name="T9" fmla="*/ 32 h 74"/>
                <a:gd name="T10" fmla="*/ 2 w 147"/>
                <a:gd name="T11" fmla="*/ 29 h 74"/>
                <a:gd name="T12" fmla="*/ 5 w 147"/>
                <a:gd name="T13" fmla="*/ 32 h 74"/>
                <a:gd name="T14" fmla="*/ 5 w 147"/>
                <a:gd name="T15" fmla="*/ 45 h 74"/>
                <a:gd name="T16" fmla="*/ 47 w 147"/>
                <a:gd name="T17" fmla="*/ 69 h 74"/>
                <a:gd name="T18" fmla="*/ 142 w 147"/>
                <a:gd name="T19" fmla="*/ 16 h 74"/>
                <a:gd name="T20" fmla="*/ 142 w 147"/>
                <a:gd name="T21" fmla="*/ 3 h 74"/>
                <a:gd name="T22" fmla="*/ 144 w 147"/>
                <a:gd name="T23" fmla="*/ 0 h 74"/>
                <a:gd name="T24" fmla="*/ 147 w 147"/>
                <a:gd name="T25" fmla="*/ 3 h 74"/>
                <a:gd name="T26" fmla="*/ 147 w 147"/>
                <a:gd name="T27" fmla="*/ 18 h 74"/>
                <a:gd name="T28" fmla="*/ 146 w 147"/>
                <a:gd name="T29" fmla="*/ 20 h 74"/>
                <a:gd name="T30" fmla="*/ 48 w 147"/>
                <a:gd name="T31" fmla="*/ 74 h 74"/>
                <a:gd name="T32" fmla="*/ 47 w 147"/>
                <a:gd name="T3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7" h="74">
                  <a:moveTo>
                    <a:pt x="47" y="74"/>
                  </a:moveTo>
                  <a:cubicBezTo>
                    <a:pt x="46" y="74"/>
                    <a:pt x="46" y="74"/>
                    <a:pt x="46" y="74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49"/>
                    <a:pt x="0" y="48"/>
                    <a:pt x="0" y="47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0"/>
                    <a:pt x="1" y="29"/>
                    <a:pt x="2" y="29"/>
                  </a:cubicBezTo>
                  <a:cubicBezTo>
                    <a:pt x="4" y="29"/>
                    <a:pt x="5" y="30"/>
                    <a:pt x="5" y="32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2" y="3"/>
                    <a:pt x="142" y="3"/>
                    <a:pt x="142" y="3"/>
                  </a:cubicBezTo>
                  <a:cubicBezTo>
                    <a:pt x="142" y="1"/>
                    <a:pt x="143" y="0"/>
                    <a:pt x="144" y="0"/>
                  </a:cubicBezTo>
                  <a:cubicBezTo>
                    <a:pt x="146" y="0"/>
                    <a:pt x="147" y="1"/>
                    <a:pt x="147" y="3"/>
                  </a:cubicBezTo>
                  <a:cubicBezTo>
                    <a:pt x="147" y="18"/>
                    <a:pt x="147" y="18"/>
                    <a:pt x="147" y="18"/>
                  </a:cubicBezTo>
                  <a:cubicBezTo>
                    <a:pt x="147" y="19"/>
                    <a:pt x="146" y="20"/>
                    <a:pt x="146" y="20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7" y="74"/>
                    <a:pt x="47" y="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0" name="Freeform 503">
              <a:extLst>
                <a:ext uri="{FF2B5EF4-FFF2-40B4-BE49-F238E27FC236}">
                  <a16:creationId xmlns:a16="http://schemas.microsoft.com/office/drawing/2014/main" id="{A53D5DFD-249A-24F9-3CE8-0180BF165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73227" y="3071817"/>
              <a:ext cx="11113" cy="44450"/>
            </a:xfrm>
            <a:custGeom>
              <a:avLst/>
              <a:gdLst>
                <a:gd name="T0" fmla="*/ 3 w 5"/>
                <a:gd name="T1" fmla="*/ 20 h 20"/>
                <a:gd name="T2" fmla="*/ 0 w 5"/>
                <a:gd name="T3" fmla="*/ 17 h 20"/>
                <a:gd name="T4" fmla="*/ 0 w 5"/>
                <a:gd name="T5" fmla="*/ 2 h 20"/>
                <a:gd name="T6" fmla="*/ 3 w 5"/>
                <a:gd name="T7" fmla="*/ 0 h 20"/>
                <a:gd name="T8" fmla="*/ 5 w 5"/>
                <a:gd name="T9" fmla="*/ 2 h 20"/>
                <a:gd name="T10" fmla="*/ 5 w 5"/>
                <a:gd name="T11" fmla="*/ 17 h 20"/>
                <a:gd name="T12" fmla="*/ 3 w 5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0">
                  <a:moveTo>
                    <a:pt x="3" y="20"/>
                  </a:moveTo>
                  <a:cubicBezTo>
                    <a:pt x="2" y="20"/>
                    <a:pt x="0" y="19"/>
                    <a:pt x="0" y="1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9"/>
                    <a:pt x="4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1" name="Freeform 504">
              <a:extLst>
                <a:ext uri="{FF2B5EF4-FFF2-40B4-BE49-F238E27FC236}">
                  <a16:creationId xmlns:a16="http://schemas.microsoft.com/office/drawing/2014/main" id="{45C04D19-8D01-E873-2F14-B0F6258397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03368" y="3103567"/>
              <a:ext cx="69849" cy="44450"/>
            </a:xfrm>
            <a:custGeom>
              <a:avLst/>
              <a:gdLst>
                <a:gd name="T0" fmla="*/ 18 w 31"/>
                <a:gd name="T1" fmla="*/ 20 h 20"/>
                <a:gd name="T2" fmla="*/ 16 w 31"/>
                <a:gd name="T3" fmla="*/ 20 h 20"/>
                <a:gd name="T4" fmla="*/ 14 w 31"/>
                <a:gd name="T5" fmla="*/ 17 h 20"/>
                <a:gd name="T6" fmla="*/ 16 w 31"/>
                <a:gd name="T7" fmla="*/ 15 h 20"/>
                <a:gd name="T8" fmla="*/ 26 w 31"/>
                <a:gd name="T9" fmla="*/ 12 h 20"/>
                <a:gd name="T10" fmla="*/ 25 w 31"/>
                <a:gd name="T11" fmla="*/ 12 h 20"/>
                <a:gd name="T12" fmla="*/ 19 w 31"/>
                <a:gd name="T13" fmla="*/ 11 h 20"/>
                <a:gd name="T14" fmla="*/ 12 w 31"/>
                <a:gd name="T15" fmla="*/ 13 h 20"/>
                <a:gd name="T16" fmla="*/ 3 w 31"/>
                <a:gd name="T17" fmla="*/ 13 h 20"/>
                <a:gd name="T18" fmla="*/ 0 w 31"/>
                <a:gd name="T19" fmla="*/ 8 h 20"/>
                <a:gd name="T20" fmla="*/ 5 w 31"/>
                <a:gd name="T21" fmla="*/ 3 h 20"/>
                <a:gd name="T22" fmla="*/ 17 w 31"/>
                <a:gd name="T23" fmla="*/ 2 h 20"/>
                <a:gd name="T24" fmla="*/ 18 w 31"/>
                <a:gd name="T25" fmla="*/ 5 h 20"/>
                <a:gd name="T26" fmla="*/ 15 w 31"/>
                <a:gd name="T27" fmla="*/ 6 h 20"/>
                <a:gd name="T28" fmla="*/ 7 w 31"/>
                <a:gd name="T29" fmla="*/ 7 h 20"/>
                <a:gd name="T30" fmla="*/ 5 w 31"/>
                <a:gd name="T31" fmla="*/ 8 h 20"/>
                <a:gd name="T32" fmla="*/ 5 w 31"/>
                <a:gd name="T33" fmla="*/ 8 h 20"/>
                <a:gd name="T34" fmla="*/ 11 w 31"/>
                <a:gd name="T35" fmla="*/ 9 h 20"/>
                <a:gd name="T36" fmla="*/ 18 w 31"/>
                <a:gd name="T37" fmla="*/ 7 h 20"/>
                <a:gd name="T38" fmla="*/ 27 w 31"/>
                <a:gd name="T39" fmla="*/ 7 h 20"/>
                <a:gd name="T40" fmla="*/ 30 w 31"/>
                <a:gd name="T41" fmla="*/ 11 h 20"/>
                <a:gd name="T42" fmla="*/ 30 w 31"/>
                <a:gd name="T43" fmla="*/ 15 h 20"/>
                <a:gd name="T44" fmla="*/ 18 w 31"/>
                <a:gd name="T4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20">
                  <a:moveTo>
                    <a:pt x="18" y="20"/>
                  </a:moveTo>
                  <a:cubicBezTo>
                    <a:pt x="17" y="20"/>
                    <a:pt x="17" y="20"/>
                    <a:pt x="16" y="20"/>
                  </a:cubicBezTo>
                  <a:cubicBezTo>
                    <a:pt x="15" y="20"/>
                    <a:pt x="14" y="18"/>
                    <a:pt x="14" y="17"/>
                  </a:cubicBezTo>
                  <a:cubicBezTo>
                    <a:pt x="14" y="16"/>
                    <a:pt x="15" y="15"/>
                    <a:pt x="16" y="15"/>
                  </a:cubicBezTo>
                  <a:cubicBezTo>
                    <a:pt x="22" y="15"/>
                    <a:pt x="25" y="13"/>
                    <a:pt x="26" y="12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2" y="11"/>
                    <a:pt x="19" y="11"/>
                    <a:pt x="19" y="11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9" y="14"/>
                    <a:pt x="6" y="14"/>
                    <a:pt x="3" y="13"/>
                  </a:cubicBezTo>
                  <a:cubicBezTo>
                    <a:pt x="0" y="11"/>
                    <a:pt x="0" y="9"/>
                    <a:pt x="0" y="8"/>
                  </a:cubicBezTo>
                  <a:cubicBezTo>
                    <a:pt x="0" y="5"/>
                    <a:pt x="4" y="3"/>
                    <a:pt x="5" y="3"/>
                  </a:cubicBezTo>
                  <a:cubicBezTo>
                    <a:pt x="10" y="0"/>
                    <a:pt x="16" y="2"/>
                    <a:pt x="17" y="2"/>
                  </a:cubicBezTo>
                  <a:cubicBezTo>
                    <a:pt x="18" y="2"/>
                    <a:pt x="19" y="3"/>
                    <a:pt x="18" y="5"/>
                  </a:cubicBezTo>
                  <a:cubicBezTo>
                    <a:pt x="18" y="6"/>
                    <a:pt x="16" y="7"/>
                    <a:pt x="15" y="6"/>
                  </a:cubicBezTo>
                  <a:cubicBezTo>
                    <a:pt x="15" y="6"/>
                    <a:pt x="11" y="5"/>
                    <a:pt x="7" y="7"/>
                  </a:cubicBezTo>
                  <a:cubicBezTo>
                    <a:pt x="6" y="8"/>
                    <a:pt x="6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9"/>
                    <a:pt x="8" y="10"/>
                    <a:pt x="11" y="9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22" y="5"/>
                    <a:pt x="27" y="7"/>
                  </a:cubicBezTo>
                  <a:cubicBezTo>
                    <a:pt x="29" y="8"/>
                    <a:pt x="30" y="9"/>
                    <a:pt x="30" y="11"/>
                  </a:cubicBezTo>
                  <a:cubicBezTo>
                    <a:pt x="31" y="13"/>
                    <a:pt x="30" y="14"/>
                    <a:pt x="30" y="15"/>
                  </a:cubicBezTo>
                  <a:cubicBezTo>
                    <a:pt x="29" y="15"/>
                    <a:pt x="26" y="20"/>
                    <a:pt x="18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2" name="Freeform 505">
              <a:extLst>
                <a:ext uri="{FF2B5EF4-FFF2-40B4-BE49-F238E27FC236}">
                  <a16:creationId xmlns:a16="http://schemas.microsoft.com/office/drawing/2014/main" id="{2B09E6CB-DDC7-F577-1894-87B48276BD9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06543" y="3103567"/>
              <a:ext cx="22225" cy="15875"/>
            </a:xfrm>
            <a:custGeom>
              <a:avLst/>
              <a:gdLst>
                <a:gd name="T0" fmla="*/ 7 w 10"/>
                <a:gd name="T1" fmla="*/ 7 h 7"/>
                <a:gd name="T2" fmla="*/ 6 w 10"/>
                <a:gd name="T3" fmla="*/ 7 h 7"/>
                <a:gd name="T4" fmla="*/ 2 w 10"/>
                <a:gd name="T5" fmla="*/ 5 h 7"/>
                <a:gd name="T6" fmla="*/ 1 w 10"/>
                <a:gd name="T7" fmla="*/ 2 h 7"/>
                <a:gd name="T8" fmla="*/ 4 w 10"/>
                <a:gd name="T9" fmla="*/ 1 h 7"/>
                <a:gd name="T10" fmla="*/ 8 w 10"/>
                <a:gd name="T11" fmla="*/ 3 h 7"/>
                <a:gd name="T12" fmla="*/ 9 w 10"/>
                <a:gd name="T13" fmla="*/ 6 h 7"/>
                <a:gd name="T14" fmla="*/ 7 w 10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7">
                  <a:moveTo>
                    <a:pt x="7" y="7"/>
                  </a:moveTo>
                  <a:cubicBezTo>
                    <a:pt x="7" y="7"/>
                    <a:pt x="6" y="7"/>
                    <a:pt x="6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4"/>
                    <a:pt x="0" y="3"/>
                    <a:pt x="1" y="2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10" y="5"/>
                    <a:pt x="9" y="6"/>
                  </a:cubicBezTo>
                  <a:cubicBezTo>
                    <a:pt x="9" y="7"/>
                    <a:pt x="8" y="7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3" name="Freeform 506">
              <a:extLst>
                <a:ext uri="{FF2B5EF4-FFF2-40B4-BE49-F238E27FC236}">
                  <a16:creationId xmlns:a16="http://schemas.microsoft.com/office/drawing/2014/main" id="{CB169178-3094-1C5B-9032-08836E352DE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52569" y="3132142"/>
              <a:ext cx="20638" cy="15875"/>
            </a:xfrm>
            <a:custGeom>
              <a:avLst/>
              <a:gdLst>
                <a:gd name="T0" fmla="*/ 7 w 9"/>
                <a:gd name="T1" fmla="*/ 7 h 7"/>
                <a:gd name="T2" fmla="*/ 5 w 9"/>
                <a:gd name="T3" fmla="*/ 7 h 7"/>
                <a:gd name="T4" fmla="*/ 1 w 9"/>
                <a:gd name="T5" fmla="*/ 5 h 7"/>
                <a:gd name="T6" fmla="*/ 0 w 9"/>
                <a:gd name="T7" fmla="*/ 1 h 7"/>
                <a:gd name="T8" fmla="*/ 4 w 9"/>
                <a:gd name="T9" fmla="*/ 1 h 7"/>
                <a:gd name="T10" fmla="*/ 8 w 9"/>
                <a:gd name="T11" fmla="*/ 3 h 7"/>
                <a:gd name="T12" fmla="*/ 9 w 9"/>
                <a:gd name="T13" fmla="*/ 6 h 7"/>
                <a:gd name="T14" fmla="*/ 7 w 9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7" y="7"/>
                  </a:moveTo>
                  <a:cubicBezTo>
                    <a:pt x="6" y="7"/>
                    <a:pt x="6" y="7"/>
                    <a:pt x="5" y="7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3"/>
                    <a:pt x="0" y="1"/>
                  </a:cubicBezTo>
                  <a:cubicBezTo>
                    <a:pt x="1" y="0"/>
                    <a:pt x="3" y="0"/>
                    <a:pt x="4" y="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5"/>
                    <a:pt x="9" y="6"/>
                  </a:cubicBezTo>
                  <a:cubicBezTo>
                    <a:pt x="8" y="7"/>
                    <a:pt x="7" y="7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4" name="Freeform 507">
              <a:extLst>
                <a:ext uri="{FF2B5EF4-FFF2-40B4-BE49-F238E27FC236}">
                  <a16:creationId xmlns:a16="http://schemas.microsoft.com/office/drawing/2014/main" id="{337B52F8-EA88-B476-6449-3B44C17C74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11315" y="3044829"/>
              <a:ext cx="285745" cy="161925"/>
            </a:xfrm>
            <a:custGeom>
              <a:avLst/>
              <a:gdLst>
                <a:gd name="T0" fmla="*/ 47 w 127"/>
                <a:gd name="T1" fmla="*/ 72 h 72"/>
                <a:gd name="T2" fmla="*/ 46 w 127"/>
                <a:gd name="T3" fmla="*/ 72 h 72"/>
                <a:gd name="T4" fmla="*/ 46 w 127"/>
                <a:gd name="T5" fmla="*/ 72 h 72"/>
                <a:gd name="T6" fmla="*/ 28 w 127"/>
                <a:gd name="T7" fmla="*/ 72 h 72"/>
                <a:gd name="T8" fmla="*/ 25 w 127"/>
                <a:gd name="T9" fmla="*/ 72 h 72"/>
                <a:gd name="T10" fmla="*/ 2 w 127"/>
                <a:gd name="T11" fmla="*/ 59 h 72"/>
                <a:gd name="T12" fmla="*/ 0 w 127"/>
                <a:gd name="T13" fmla="*/ 57 h 72"/>
                <a:gd name="T14" fmla="*/ 2 w 127"/>
                <a:gd name="T15" fmla="*/ 54 h 72"/>
                <a:gd name="T16" fmla="*/ 4 w 127"/>
                <a:gd name="T17" fmla="*/ 51 h 72"/>
                <a:gd name="T18" fmla="*/ 2 w 127"/>
                <a:gd name="T19" fmla="*/ 47 h 72"/>
                <a:gd name="T20" fmla="*/ 0 w 127"/>
                <a:gd name="T21" fmla="*/ 45 h 72"/>
                <a:gd name="T22" fmla="*/ 2 w 127"/>
                <a:gd name="T23" fmla="*/ 43 h 72"/>
                <a:gd name="T24" fmla="*/ 78 w 127"/>
                <a:gd name="T25" fmla="*/ 1 h 72"/>
                <a:gd name="T26" fmla="*/ 81 w 127"/>
                <a:gd name="T27" fmla="*/ 1 h 72"/>
                <a:gd name="T28" fmla="*/ 99 w 127"/>
                <a:gd name="T29" fmla="*/ 1 h 72"/>
                <a:gd name="T30" fmla="*/ 101 w 127"/>
                <a:gd name="T31" fmla="*/ 1 h 72"/>
                <a:gd name="T32" fmla="*/ 125 w 127"/>
                <a:gd name="T33" fmla="*/ 14 h 72"/>
                <a:gd name="T34" fmla="*/ 127 w 127"/>
                <a:gd name="T35" fmla="*/ 16 h 72"/>
                <a:gd name="T36" fmla="*/ 125 w 127"/>
                <a:gd name="T37" fmla="*/ 18 h 72"/>
                <a:gd name="T38" fmla="*/ 122 w 127"/>
                <a:gd name="T39" fmla="*/ 22 h 72"/>
                <a:gd name="T40" fmla="*/ 125 w 127"/>
                <a:gd name="T41" fmla="*/ 25 h 72"/>
                <a:gd name="T42" fmla="*/ 127 w 127"/>
                <a:gd name="T43" fmla="*/ 28 h 72"/>
                <a:gd name="T44" fmla="*/ 125 w 127"/>
                <a:gd name="T45" fmla="*/ 30 h 72"/>
                <a:gd name="T46" fmla="*/ 49 w 127"/>
                <a:gd name="T47" fmla="*/ 72 h 72"/>
                <a:gd name="T48" fmla="*/ 47 w 127"/>
                <a:gd name="T49" fmla="*/ 72 h 72"/>
                <a:gd name="T50" fmla="*/ 37 w 127"/>
                <a:gd name="T51" fmla="*/ 65 h 72"/>
                <a:gd name="T52" fmla="*/ 47 w 127"/>
                <a:gd name="T53" fmla="*/ 67 h 72"/>
                <a:gd name="T54" fmla="*/ 120 w 127"/>
                <a:gd name="T55" fmla="*/ 27 h 72"/>
                <a:gd name="T56" fmla="*/ 117 w 127"/>
                <a:gd name="T57" fmla="*/ 22 h 72"/>
                <a:gd name="T58" fmla="*/ 120 w 127"/>
                <a:gd name="T59" fmla="*/ 16 h 72"/>
                <a:gd name="T60" fmla="*/ 100 w 127"/>
                <a:gd name="T61" fmla="*/ 6 h 72"/>
                <a:gd name="T62" fmla="*/ 80 w 127"/>
                <a:gd name="T63" fmla="*/ 6 h 72"/>
                <a:gd name="T64" fmla="*/ 7 w 127"/>
                <a:gd name="T65" fmla="*/ 46 h 72"/>
                <a:gd name="T66" fmla="*/ 9 w 127"/>
                <a:gd name="T67" fmla="*/ 51 h 72"/>
                <a:gd name="T68" fmla="*/ 7 w 127"/>
                <a:gd name="T69" fmla="*/ 56 h 72"/>
                <a:gd name="T70" fmla="*/ 27 w 127"/>
                <a:gd name="T71" fmla="*/ 67 h 72"/>
                <a:gd name="T72" fmla="*/ 37 w 127"/>
                <a:gd name="T73" fmla="*/ 6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7" h="72">
                  <a:moveTo>
                    <a:pt x="47" y="72"/>
                  </a:moveTo>
                  <a:cubicBezTo>
                    <a:pt x="47" y="72"/>
                    <a:pt x="47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1" y="69"/>
                    <a:pt x="33" y="69"/>
                    <a:pt x="28" y="72"/>
                  </a:cubicBezTo>
                  <a:cubicBezTo>
                    <a:pt x="27" y="72"/>
                    <a:pt x="26" y="72"/>
                    <a:pt x="25" y="72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1" y="58"/>
                    <a:pt x="0" y="58"/>
                    <a:pt x="0" y="57"/>
                  </a:cubicBezTo>
                  <a:cubicBezTo>
                    <a:pt x="0" y="56"/>
                    <a:pt x="1" y="55"/>
                    <a:pt x="2" y="54"/>
                  </a:cubicBezTo>
                  <a:cubicBezTo>
                    <a:pt x="3" y="53"/>
                    <a:pt x="4" y="52"/>
                    <a:pt x="4" y="51"/>
                  </a:cubicBezTo>
                  <a:cubicBezTo>
                    <a:pt x="4" y="50"/>
                    <a:pt x="3" y="49"/>
                    <a:pt x="2" y="47"/>
                  </a:cubicBezTo>
                  <a:cubicBezTo>
                    <a:pt x="1" y="47"/>
                    <a:pt x="0" y="46"/>
                    <a:pt x="0" y="45"/>
                  </a:cubicBezTo>
                  <a:cubicBezTo>
                    <a:pt x="0" y="44"/>
                    <a:pt x="1" y="44"/>
                    <a:pt x="2" y="43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1"/>
                    <a:pt x="80" y="0"/>
                    <a:pt x="81" y="1"/>
                  </a:cubicBezTo>
                  <a:cubicBezTo>
                    <a:pt x="86" y="4"/>
                    <a:pt x="94" y="3"/>
                    <a:pt x="99" y="1"/>
                  </a:cubicBezTo>
                  <a:cubicBezTo>
                    <a:pt x="100" y="0"/>
                    <a:pt x="101" y="0"/>
                    <a:pt x="101" y="1"/>
                  </a:cubicBezTo>
                  <a:cubicBezTo>
                    <a:pt x="125" y="14"/>
                    <a:pt x="125" y="14"/>
                    <a:pt x="125" y="14"/>
                  </a:cubicBezTo>
                  <a:cubicBezTo>
                    <a:pt x="126" y="14"/>
                    <a:pt x="127" y="15"/>
                    <a:pt x="127" y="16"/>
                  </a:cubicBezTo>
                  <a:cubicBezTo>
                    <a:pt x="127" y="17"/>
                    <a:pt x="126" y="18"/>
                    <a:pt x="125" y="18"/>
                  </a:cubicBezTo>
                  <a:cubicBezTo>
                    <a:pt x="123" y="19"/>
                    <a:pt x="122" y="21"/>
                    <a:pt x="122" y="22"/>
                  </a:cubicBezTo>
                  <a:cubicBezTo>
                    <a:pt x="122" y="23"/>
                    <a:pt x="123" y="24"/>
                    <a:pt x="125" y="25"/>
                  </a:cubicBezTo>
                  <a:cubicBezTo>
                    <a:pt x="126" y="26"/>
                    <a:pt x="127" y="27"/>
                    <a:pt x="127" y="28"/>
                  </a:cubicBezTo>
                  <a:cubicBezTo>
                    <a:pt x="127" y="28"/>
                    <a:pt x="126" y="29"/>
                    <a:pt x="125" y="3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8" y="72"/>
                    <a:pt x="48" y="72"/>
                    <a:pt x="47" y="72"/>
                  </a:cubicBezTo>
                  <a:close/>
                  <a:moveTo>
                    <a:pt x="37" y="65"/>
                  </a:moveTo>
                  <a:cubicBezTo>
                    <a:pt x="41" y="65"/>
                    <a:pt x="44" y="66"/>
                    <a:pt x="47" y="67"/>
                  </a:cubicBezTo>
                  <a:cubicBezTo>
                    <a:pt x="120" y="27"/>
                    <a:pt x="120" y="27"/>
                    <a:pt x="120" y="27"/>
                  </a:cubicBezTo>
                  <a:cubicBezTo>
                    <a:pt x="118" y="26"/>
                    <a:pt x="117" y="24"/>
                    <a:pt x="117" y="22"/>
                  </a:cubicBezTo>
                  <a:cubicBezTo>
                    <a:pt x="117" y="20"/>
                    <a:pt x="118" y="18"/>
                    <a:pt x="120" y="16"/>
                  </a:cubicBezTo>
                  <a:cubicBezTo>
                    <a:pt x="100" y="6"/>
                    <a:pt x="100" y="6"/>
                    <a:pt x="100" y="6"/>
                  </a:cubicBezTo>
                  <a:cubicBezTo>
                    <a:pt x="94" y="8"/>
                    <a:pt x="86" y="8"/>
                    <a:pt x="80" y="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9" y="47"/>
                    <a:pt x="9" y="49"/>
                    <a:pt x="9" y="51"/>
                  </a:cubicBezTo>
                  <a:cubicBezTo>
                    <a:pt x="9" y="53"/>
                    <a:pt x="9" y="55"/>
                    <a:pt x="7" y="56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30" y="66"/>
                    <a:pt x="33" y="65"/>
                    <a:pt x="37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5" name="Freeform 508">
              <a:extLst>
                <a:ext uri="{FF2B5EF4-FFF2-40B4-BE49-F238E27FC236}">
                  <a16:creationId xmlns:a16="http://schemas.microsoft.com/office/drawing/2014/main" id="{4C2DFF2F-F86F-0918-95C9-FAB22F69FB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35127" y="3141667"/>
              <a:ext cx="42862" cy="36513"/>
            </a:xfrm>
            <a:custGeom>
              <a:avLst/>
              <a:gdLst>
                <a:gd name="T0" fmla="*/ 13 w 19"/>
                <a:gd name="T1" fmla="*/ 16 h 16"/>
                <a:gd name="T2" fmla="*/ 12 w 19"/>
                <a:gd name="T3" fmla="*/ 16 h 16"/>
                <a:gd name="T4" fmla="*/ 1 w 19"/>
                <a:gd name="T5" fmla="*/ 10 h 16"/>
                <a:gd name="T6" fmla="*/ 0 w 19"/>
                <a:gd name="T7" fmla="*/ 8 h 16"/>
                <a:gd name="T8" fmla="*/ 1 w 19"/>
                <a:gd name="T9" fmla="*/ 6 h 16"/>
                <a:gd name="T10" fmla="*/ 12 w 19"/>
                <a:gd name="T11" fmla="*/ 0 h 16"/>
                <a:gd name="T12" fmla="*/ 14 w 19"/>
                <a:gd name="T13" fmla="*/ 0 h 16"/>
                <a:gd name="T14" fmla="*/ 19 w 19"/>
                <a:gd name="T15" fmla="*/ 8 h 16"/>
                <a:gd name="T16" fmla="*/ 14 w 19"/>
                <a:gd name="T17" fmla="*/ 16 h 16"/>
                <a:gd name="T18" fmla="*/ 13 w 19"/>
                <a:gd name="T19" fmla="*/ 16 h 16"/>
                <a:gd name="T20" fmla="*/ 8 w 19"/>
                <a:gd name="T21" fmla="*/ 8 h 16"/>
                <a:gd name="T22" fmla="*/ 13 w 19"/>
                <a:gd name="T23" fmla="*/ 11 h 16"/>
                <a:gd name="T24" fmla="*/ 14 w 19"/>
                <a:gd name="T25" fmla="*/ 8 h 16"/>
                <a:gd name="T26" fmla="*/ 13 w 19"/>
                <a:gd name="T27" fmla="*/ 5 h 16"/>
                <a:gd name="T28" fmla="*/ 8 w 19"/>
                <a:gd name="T2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6">
                  <a:moveTo>
                    <a:pt x="13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7"/>
                    <a:pt x="1" y="6"/>
                    <a:pt x="1" y="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7" y="2"/>
                    <a:pt x="19" y="5"/>
                    <a:pt x="19" y="8"/>
                  </a:cubicBezTo>
                  <a:cubicBezTo>
                    <a:pt x="19" y="11"/>
                    <a:pt x="17" y="14"/>
                    <a:pt x="14" y="16"/>
                  </a:cubicBezTo>
                  <a:cubicBezTo>
                    <a:pt x="14" y="16"/>
                    <a:pt x="13" y="16"/>
                    <a:pt x="13" y="16"/>
                  </a:cubicBezTo>
                  <a:close/>
                  <a:moveTo>
                    <a:pt x="8" y="8"/>
                  </a:moveTo>
                  <a:cubicBezTo>
                    <a:pt x="13" y="11"/>
                    <a:pt x="13" y="11"/>
                    <a:pt x="13" y="11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4" y="7"/>
                    <a:pt x="14" y="6"/>
                    <a:pt x="13" y="5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6" name="Freeform 509">
              <a:extLst>
                <a:ext uri="{FF2B5EF4-FFF2-40B4-BE49-F238E27FC236}">
                  <a16:creationId xmlns:a16="http://schemas.microsoft.com/office/drawing/2014/main" id="{3DA53FCB-5D4E-E32D-8E7F-CFF159D9E4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57342" y="3189292"/>
              <a:ext cx="58737" cy="31750"/>
            </a:xfrm>
            <a:custGeom>
              <a:avLst/>
              <a:gdLst>
                <a:gd name="T0" fmla="*/ 13 w 26"/>
                <a:gd name="T1" fmla="*/ 14 h 14"/>
                <a:gd name="T2" fmla="*/ 12 w 26"/>
                <a:gd name="T3" fmla="*/ 14 h 14"/>
                <a:gd name="T4" fmla="*/ 1 w 26"/>
                <a:gd name="T5" fmla="*/ 8 h 14"/>
                <a:gd name="T6" fmla="*/ 0 w 26"/>
                <a:gd name="T7" fmla="*/ 6 h 14"/>
                <a:gd name="T8" fmla="*/ 1 w 26"/>
                <a:gd name="T9" fmla="*/ 3 h 14"/>
                <a:gd name="T10" fmla="*/ 25 w 26"/>
                <a:gd name="T11" fmla="*/ 4 h 14"/>
                <a:gd name="T12" fmla="*/ 25 w 26"/>
                <a:gd name="T13" fmla="*/ 4 h 14"/>
                <a:gd name="T14" fmla="*/ 26 w 26"/>
                <a:gd name="T15" fmla="*/ 6 h 14"/>
                <a:gd name="T16" fmla="*/ 25 w 26"/>
                <a:gd name="T17" fmla="*/ 8 h 14"/>
                <a:gd name="T18" fmla="*/ 14 w 26"/>
                <a:gd name="T19" fmla="*/ 14 h 14"/>
                <a:gd name="T20" fmla="*/ 13 w 26"/>
                <a:gd name="T21" fmla="*/ 14 h 14"/>
                <a:gd name="T22" fmla="*/ 9 w 26"/>
                <a:gd name="T23" fmla="*/ 6 h 14"/>
                <a:gd name="T24" fmla="*/ 13 w 26"/>
                <a:gd name="T25" fmla="*/ 9 h 14"/>
                <a:gd name="T26" fmla="*/ 17 w 26"/>
                <a:gd name="T27" fmla="*/ 6 h 14"/>
                <a:gd name="T28" fmla="*/ 9 w 26"/>
                <a:gd name="T2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4">
                  <a:moveTo>
                    <a:pt x="13" y="14"/>
                  </a:moveTo>
                  <a:cubicBezTo>
                    <a:pt x="13" y="14"/>
                    <a:pt x="12" y="14"/>
                    <a:pt x="12" y="14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7"/>
                    <a:pt x="0" y="7"/>
                    <a:pt x="0" y="6"/>
                  </a:cubicBezTo>
                  <a:cubicBezTo>
                    <a:pt x="0" y="5"/>
                    <a:pt x="1" y="4"/>
                    <a:pt x="1" y="3"/>
                  </a:cubicBezTo>
                  <a:cubicBezTo>
                    <a:pt x="8" y="0"/>
                    <a:pt x="18" y="0"/>
                    <a:pt x="25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6" y="4"/>
                    <a:pt x="26" y="5"/>
                    <a:pt x="26" y="6"/>
                  </a:cubicBezTo>
                  <a:cubicBezTo>
                    <a:pt x="26" y="7"/>
                    <a:pt x="25" y="8"/>
                    <a:pt x="25" y="8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3" y="14"/>
                  </a:cubicBezTo>
                  <a:close/>
                  <a:moveTo>
                    <a:pt x="9" y="6"/>
                  </a:moveTo>
                  <a:cubicBezTo>
                    <a:pt x="13" y="9"/>
                    <a:pt x="13" y="9"/>
                    <a:pt x="13" y="9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5" y="6"/>
                    <a:pt x="12" y="6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7" name="Freeform 510">
              <a:extLst>
                <a:ext uri="{FF2B5EF4-FFF2-40B4-BE49-F238E27FC236}">
                  <a16:creationId xmlns:a16="http://schemas.microsoft.com/office/drawing/2014/main" id="{58E3DF13-CB06-790A-CC66-180C7E403D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38281" y="3033717"/>
              <a:ext cx="58737" cy="28575"/>
            </a:xfrm>
            <a:custGeom>
              <a:avLst/>
              <a:gdLst>
                <a:gd name="T0" fmla="*/ 13 w 26"/>
                <a:gd name="T1" fmla="*/ 13 h 13"/>
                <a:gd name="T2" fmla="*/ 2 w 26"/>
                <a:gd name="T3" fmla="*/ 10 h 13"/>
                <a:gd name="T4" fmla="*/ 0 w 26"/>
                <a:gd name="T5" fmla="*/ 8 h 13"/>
                <a:gd name="T6" fmla="*/ 1 w 26"/>
                <a:gd name="T7" fmla="*/ 6 h 13"/>
                <a:gd name="T8" fmla="*/ 12 w 26"/>
                <a:gd name="T9" fmla="*/ 0 h 13"/>
                <a:gd name="T10" fmla="*/ 14 w 26"/>
                <a:gd name="T11" fmla="*/ 0 h 13"/>
                <a:gd name="T12" fmla="*/ 24 w 26"/>
                <a:gd name="T13" fmla="*/ 6 h 13"/>
                <a:gd name="T14" fmla="*/ 26 w 26"/>
                <a:gd name="T15" fmla="*/ 8 h 13"/>
                <a:gd name="T16" fmla="*/ 24 w 26"/>
                <a:gd name="T17" fmla="*/ 10 h 13"/>
                <a:gd name="T18" fmla="*/ 13 w 26"/>
                <a:gd name="T19" fmla="*/ 13 h 13"/>
                <a:gd name="T20" fmla="*/ 9 w 26"/>
                <a:gd name="T21" fmla="*/ 7 h 13"/>
                <a:gd name="T22" fmla="*/ 17 w 26"/>
                <a:gd name="T23" fmla="*/ 7 h 13"/>
                <a:gd name="T24" fmla="*/ 13 w 26"/>
                <a:gd name="T25" fmla="*/ 5 h 13"/>
                <a:gd name="T26" fmla="*/ 9 w 26"/>
                <a:gd name="T2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13">
                  <a:moveTo>
                    <a:pt x="13" y="13"/>
                  </a:moveTo>
                  <a:cubicBezTo>
                    <a:pt x="9" y="13"/>
                    <a:pt x="5" y="12"/>
                    <a:pt x="2" y="10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7"/>
                    <a:pt x="1" y="6"/>
                    <a:pt x="1" y="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4" y="0"/>
                    <a:pt x="14" y="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5" y="6"/>
                    <a:pt x="26" y="7"/>
                    <a:pt x="26" y="8"/>
                  </a:cubicBezTo>
                  <a:cubicBezTo>
                    <a:pt x="26" y="9"/>
                    <a:pt x="25" y="10"/>
                    <a:pt x="24" y="10"/>
                  </a:cubicBezTo>
                  <a:cubicBezTo>
                    <a:pt x="21" y="12"/>
                    <a:pt x="17" y="13"/>
                    <a:pt x="13" y="13"/>
                  </a:cubicBezTo>
                  <a:close/>
                  <a:moveTo>
                    <a:pt x="9" y="7"/>
                  </a:moveTo>
                  <a:cubicBezTo>
                    <a:pt x="12" y="8"/>
                    <a:pt x="15" y="8"/>
                    <a:pt x="17" y="7"/>
                  </a:cubicBezTo>
                  <a:cubicBezTo>
                    <a:pt x="13" y="5"/>
                    <a:pt x="13" y="5"/>
                    <a:pt x="13" y="5"/>
                  </a:cubicBezTo>
                  <a:lnTo>
                    <a:pt x="9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8" name="Freeform 511">
              <a:extLst>
                <a:ext uri="{FF2B5EF4-FFF2-40B4-BE49-F238E27FC236}">
                  <a16:creationId xmlns:a16="http://schemas.microsoft.com/office/drawing/2014/main" id="{F2F713BE-591C-0F5B-3B3C-DEDEAE0C7C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647795" y="3073404"/>
              <a:ext cx="44449" cy="39688"/>
            </a:xfrm>
            <a:custGeom>
              <a:avLst/>
              <a:gdLst>
                <a:gd name="T0" fmla="*/ 7 w 20"/>
                <a:gd name="T1" fmla="*/ 17 h 17"/>
                <a:gd name="T2" fmla="*/ 6 w 20"/>
                <a:gd name="T3" fmla="*/ 17 h 17"/>
                <a:gd name="T4" fmla="*/ 0 w 20"/>
                <a:gd name="T5" fmla="*/ 9 h 17"/>
                <a:gd name="T6" fmla="*/ 6 w 20"/>
                <a:gd name="T7" fmla="*/ 1 h 17"/>
                <a:gd name="T8" fmla="*/ 8 w 20"/>
                <a:gd name="T9" fmla="*/ 1 h 17"/>
                <a:gd name="T10" fmla="*/ 19 w 20"/>
                <a:gd name="T11" fmla="*/ 7 h 17"/>
                <a:gd name="T12" fmla="*/ 20 w 20"/>
                <a:gd name="T13" fmla="*/ 9 h 17"/>
                <a:gd name="T14" fmla="*/ 19 w 20"/>
                <a:gd name="T15" fmla="*/ 11 h 17"/>
                <a:gd name="T16" fmla="*/ 8 w 20"/>
                <a:gd name="T17" fmla="*/ 17 h 17"/>
                <a:gd name="T18" fmla="*/ 7 w 20"/>
                <a:gd name="T19" fmla="*/ 17 h 17"/>
                <a:gd name="T20" fmla="*/ 7 w 20"/>
                <a:gd name="T21" fmla="*/ 6 h 17"/>
                <a:gd name="T22" fmla="*/ 5 w 20"/>
                <a:gd name="T23" fmla="*/ 9 h 17"/>
                <a:gd name="T24" fmla="*/ 7 w 20"/>
                <a:gd name="T25" fmla="*/ 12 h 17"/>
                <a:gd name="T26" fmla="*/ 13 w 20"/>
                <a:gd name="T27" fmla="*/ 9 h 17"/>
                <a:gd name="T28" fmla="*/ 7 w 20"/>
                <a:gd name="T29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17">
                  <a:moveTo>
                    <a:pt x="7" y="17"/>
                  </a:moveTo>
                  <a:cubicBezTo>
                    <a:pt x="7" y="17"/>
                    <a:pt x="6" y="17"/>
                    <a:pt x="6" y="17"/>
                  </a:cubicBezTo>
                  <a:cubicBezTo>
                    <a:pt x="2" y="15"/>
                    <a:pt x="0" y="12"/>
                    <a:pt x="0" y="9"/>
                  </a:cubicBezTo>
                  <a:cubicBezTo>
                    <a:pt x="0" y="6"/>
                    <a:pt x="2" y="3"/>
                    <a:pt x="6" y="1"/>
                  </a:cubicBezTo>
                  <a:cubicBezTo>
                    <a:pt x="7" y="0"/>
                    <a:pt x="8" y="0"/>
                    <a:pt x="8" y="1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0" y="8"/>
                    <a:pt x="20" y="9"/>
                  </a:cubicBezTo>
                  <a:cubicBezTo>
                    <a:pt x="20" y="10"/>
                    <a:pt x="20" y="11"/>
                    <a:pt x="19" y="11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7"/>
                    <a:pt x="8" y="17"/>
                    <a:pt x="7" y="17"/>
                  </a:cubicBezTo>
                  <a:close/>
                  <a:moveTo>
                    <a:pt x="7" y="6"/>
                  </a:moveTo>
                  <a:cubicBezTo>
                    <a:pt x="6" y="7"/>
                    <a:pt x="5" y="8"/>
                    <a:pt x="5" y="9"/>
                  </a:cubicBezTo>
                  <a:cubicBezTo>
                    <a:pt x="5" y="10"/>
                    <a:pt x="6" y="11"/>
                    <a:pt x="7" y="12"/>
                  </a:cubicBezTo>
                  <a:cubicBezTo>
                    <a:pt x="13" y="9"/>
                    <a:pt x="13" y="9"/>
                    <a:pt x="13" y="9"/>
                  </a:cubicBezTo>
                  <a:lnTo>
                    <a:pt x="7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9" name="Freeform 512">
              <a:extLst>
                <a:ext uri="{FF2B5EF4-FFF2-40B4-BE49-F238E27FC236}">
                  <a16:creationId xmlns:a16="http://schemas.microsoft.com/office/drawing/2014/main" id="{D991A6CD-610F-7B7F-E26C-B1787C29A6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44642" y="3078167"/>
              <a:ext cx="153985" cy="93663"/>
            </a:xfrm>
            <a:custGeom>
              <a:avLst/>
              <a:gdLst>
                <a:gd name="T0" fmla="*/ 34 w 68"/>
                <a:gd name="T1" fmla="*/ 41 h 41"/>
                <a:gd name="T2" fmla="*/ 10 w 68"/>
                <a:gd name="T3" fmla="*/ 36 h 41"/>
                <a:gd name="T4" fmla="*/ 0 w 68"/>
                <a:gd name="T5" fmla="*/ 21 h 41"/>
                <a:gd name="T6" fmla="*/ 10 w 68"/>
                <a:gd name="T7" fmla="*/ 7 h 41"/>
                <a:gd name="T8" fmla="*/ 57 w 68"/>
                <a:gd name="T9" fmla="*/ 7 h 41"/>
                <a:gd name="T10" fmla="*/ 57 w 68"/>
                <a:gd name="T11" fmla="*/ 7 h 41"/>
                <a:gd name="T12" fmla="*/ 68 w 68"/>
                <a:gd name="T13" fmla="*/ 21 h 41"/>
                <a:gd name="T14" fmla="*/ 57 w 68"/>
                <a:gd name="T15" fmla="*/ 36 h 41"/>
                <a:gd name="T16" fmla="*/ 34 w 68"/>
                <a:gd name="T17" fmla="*/ 41 h 41"/>
                <a:gd name="T18" fmla="*/ 34 w 68"/>
                <a:gd name="T19" fmla="*/ 6 h 41"/>
                <a:gd name="T20" fmla="*/ 12 w 68"/>
                <a:gd name="T21" fmla="*/ 11 h 41"/>
                <a:gd name="T22" fmla="*/ 5 w 68"/>
                <a:gd name="T23" fmla="*/ 21 h 41"/>
                <a:gd name="T24" fmla="*/ 12 w 68"/>
                <a:gd name="T25" fmla="*/ 32 h 41"/>
                <a:gd name="T26" fmla="*/ 55 w 68"/>
                <a:gd name="T27" fmla="*/ 32 h 41"/>
                <a:gd name="T28" fmla="*/ 63 w 68"/>
                <a:gd name="T29" fmla="*/ 21 h 41"/>
                <a:gd name="T30" fmla="*/ 55 w 68"/>
                <a:gd name="T31" fmla="*/ 11 h 41"/>
                <a:gd name="T32" fmla="*/ 34 w 68"/>
                <a:gd name="T33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8" h="41">
                  <a:moveTo>
                    <a:pt x="34" y="41"/>
                  </a:moveTo>
                  <a:cubicBezTo>
                    <a:pt x="25" y="41"/>
                    <a:pt x="17" y="39"/>
                    <a:pt x="10" y="36"/>
                  </a:cubicBezTo>
                  <a:cubicBezTo>
                    <a:pt x="3" y="32"/>
                    <a:pt x="0" y="27"/>
                    <a:pt x="0" y="21"/>
                  </a:cubicBezTo>
                  <a:cubicBezTo>
                    <a:pt x="0" y="16"/>
                    <a:pt x="3" y="11"/>
                    <a:pt x="10" y="7"/>
                  </a:cubicBezTo>
                  <a:cubicBezTo>
                    <a:pt x="23" y="0"/>
                    <a:pt x="44" y="0"/>
                    <a:pt x="57" y="7"/>
                  </a:cubicBezTo>
                  <a:cubicBezTo>
                    <a:pt x="57" y="7"/>
                    <a:pt x="57" y="7"/>
                    <a:pt x="57" y="7"/>
                  </a:cubicBezTo>
                  <a:cubicBezTo>
                    <a:pt x="64" y="11"/>
                    <a:pt x="68" y="16"/>
                    <a:pt x="68" y="21"/>
                  </a:cubicBezTo>
                  <a:cubicBezTo>
                    <a:pt x="68" y="27"/>
                    <a:pt x="64" y="32"/>
                    <a:pt x="57" y="36"/>
                  </a:cubicBezTo>
                  <a:cubicBezTo>
                    <a:pt x="51" y="39"/>
                    <a:pt x="42" y="41"/>
                    <a:pt x="34" y="41"/>
                  </a:cubicBezTo>
                  <a:close/>
                  <a:moveTo>
                    <a:pt x="34" y="6"/>
                  </a:moveTo>
                  <a:cubicBezTo>
                    <a:pt x="26" y="6"/>
                    <a:pt x="18" y="8"/>
                    <a:pt x="12" y="11"/>
                  </a:cubicBezTo>
                  <a:cubicBezTo>
                    <a:pt x="7" y="14"/>
                    <a:pt x="5" y="18"/>
                    <a:pt x="5" y="21"/>
                  </a:cubicBezTo>
                  <a:cubicBezTo>
                    <a:pt x="5" y="25"/>
                    <a:pt x="7" y="29"/>
                    <a:pt x="12" y="32"/>
                  </a:cubicBezTo>
                  <a:cubicBezTo>
                    <a:pt x="24" y="38"/>
                    <a:pt x="43" y="38"/>
                    <a:pt x="55" y="32"/>
                  </a:cubicBezTo>
                  <a:cubicBezTo>
                    <a:pt x="60" y="29"/>
                    <a:pt x="63" y="25"/>
                    <a:pt x="63" y="21"/>
                  </a:cubicBezTo>
                  <a:cubicBezTo>
                    <a:pt x="63" y="18"/>
                    <a:pt x="60" y="14"/>
                    <a:pt x="55" y="11"/>
                  </a:cubicBezTo>
                  <a:cubicBezTo>
                    <a:pt x="49" y="8"/>
                    <a:pt x="41" y="6"/>
                    <a:pt x="34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0" name="Freeform 513">
              <a:extLst>
                <a:ext uri="{FF2B5EF4-FFF2-40B4-BE49-F238E27FC236}">
                  <a16:creationId xmlns:a16="http://schemas.microsoft.com/office/drawing/2014/main" id="{1E485156-9EDE-EF3C-A8B5-F9913662C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35126" y="3087692"/>
              <a:ext cx="331782" cy="166688"/>
            </a:xfrm>
            <a:custGeom>
              <a:avLst/>
              <a:gdLst>
                <a:gd name="T0" fmla="*/ 47 w 147"/>
                <a:gd name="T1" fmla="*/ 74 h 74"/>
                <a:gd name="T2" fmla="*/ 46 w 147"/>
                <a:gd name="T3" fmla="*/ 74 h 74"/>
                <a:gd name="T4" fmla="*/ 1 w 147"/>
                <a:gd name="T5" fmla="*/ 49 h 74"/>
                <a:gd name="T6" fmla="*/ 0 w 147"/>
                <a:gd name="T7" fmla="*/ 47 h 74"/>
                <a:gd name="T8" fmla="*/ 0 w 147"/>
                <a:gd name="T9" fmla="*/ 32 h 74"/>
                <a:gd name="T10" fmla="*/ 3 w 147"/>
                <a:gd name="T11" fmla="*/ 30 h 74"/>
                <a:gd name="T12" fmla="*/ 5 w 147"/>
                <a:gd name="T13" fmla="*/ 32 h 74"/>
                <a:gd name="T14" fmla="*/ 5 w 147"/>
                <a:gd name="T15" fmla="*/ 46 h 74"/>
                <a:gd name="T16" fmla="*/ 47 w 147"/>
                <a:gd name="T17" fmla="*/ 69 h 74"/>
                <a:gd name="T18" fmla="*/ 142 w 147"/>
                <a:gd name="T19" fmla="*/ 17 h 74"/>
                <a:gd name="T20" fmla="*/ 142 w 147"/>
                <a:gd name="T21" fmla="*/ 3 h 74"/>
                <a:gd name="T22" fmla="*/ 145 w 147"/>
                <a:gd name="T23" fmla="*/ 0 h 74"/>
                <a:gd name="T24" fmla="*/ 147 w 147"/>
                <a:gd name="T25" fmla="*/ 3 h 74"/>
                <a:gd name="T26" fmla="*/ 147 w 147"/>
                <a:gd name="T27" fmla="*/ 18 h 74"/>
                <a:gd name="T28" fmla="*/ 146 w 147"/>
                <a:gd name="T29" fmla="*/ 20 h 74"/>
                <a:gd name="T30" fmla="*/ 48 w 147"/>
                <a:gd name="T31" fmla="*/ 74 h 74"/>
                <a:gd name="T32" fmla="*/ 47 w 147"/>
                <a:gd name="T3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7" h="74">
                  <a:moveTo>
                    <a:pt x="47" y="74"/>
                  </a:moveTo>
                  <a:cubicBezTo>
                    <a:pt x="47" y="74"/>
                    <a:pt x="46" y="74"/>
                    <a:pt x="46" y="74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1" y="49"/>
                    <a:pt x="0" y="48"/>
                    <a:pt x="0" y="47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1"/>
                    <a:pt x="1" y="30"/>
                    <a:pt x="3" y="30"/>
                  </a:cubicBezTo>
                  <a:cubicBezTo>
                    <a:pt x="4" y="30"/>
                    <a:pt x="5" y="31"/>
                    <a:pt x="5" y="32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2" y="3"/>
                    <a:pt x="142" y="3"/>
                    <a:pt x="142" y="3"/>
                  </a:cubicBezTo>
                  <a:cubicBezTo>
                    <a:pt x="142" y="2"/>
                    <a:pt x="143" y="0"/>
                    <a:pt x="145" y="0"/>
                  </a:cubicBezTo>
                  <a:cubicBezTo>
                    <a:pt x="146" y="0"/>
                    <a:pt x="147" y="2"/>
                    <a:pt x="147" y="3"/>
                  </a:cubicBezTo>
                  <a:cubicBezTo>
                    <a:pt x="147" y="18"/>
                    <a:pt x="147" y="18"/>
                    <a:pt x="147" y="18"/>
                  </a:cubicBezTo>
                  <a:cubicBezTo>
                    <a:pt x="147" y="19"/>
                    <a:pt x="147" y="20"/>
                    <a:pt x="146" y="20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7" y="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1" name="Freeform 514">
              <a:extLst>
                <a:ext uri="{FF2B5EF4-FFF2-40B4-BE49-F238E27FC236}">
                  <a16:creationId xmlns:a16="http://schemas.microsoft.com/office/drawing/2014/main" id="{C1AD5F01-BC45-493B-5A93-91AB7ABAFEE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33528" y="3209931"/>
              <a:ext cx="11113" cy="44450"/>
            </a:xfrm>
            <a:custGeom>
              <a:avLst/>
              <a:gdLst>
                <a:gd name="T0" fmla="*/ 2 w 5"/>
                <a:gd name="T1" fmla="*/ 20 h 20"/>
                <a:gd name="T2" fmla="*/ 0 w 5"/>
                <a:gd name="T3" fmla="*/ 18 h 20"/>
                <a:gd name="T4" fmla="*/ 0 w 5"/>
                <a:gd name="T5" fmla="*/ 3 h 20"/>
                <a:gd name="T6" fmla="*/ 2 w 5"/>
                <a:gd name="T7" fmla="*/ 0 h 20"/>
                <a:gd name="T8" fmla="*/ 5 w 5"/>
                <a:gd name="T9" fmla="*/ 3 h 20"/>
                <a:gd name="T10" fmla="*/ 5 w 5"/>
                <a:gd name="T11" fmla="*/ 18 h 20"/>
                <a:gd name="T12" fmla="*/ 2 w 5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0">
                  <a:moveTo>
                    <a:pt x="2" y="20"/>
                  </a:moveTo>
                  <a:cubicBezTo>
                    <a:pt x="1" y="20"/>
                    <a:pt x="0" y="19"/>
                    <a:pt x="0" y="1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2" name="Freeform 515">
              <a:extLst>
                <a:ext uri="{FF2B5EF4-FFF2-40B4-BE49-F238E27FC236}">
                  <a16:creationId xmlns:a16="http://schemas.microsoft.com/office/drawing/2014/main" id="{7EB5B87C-EE23-4035-DD05-5E2753B73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71649" y="3019431"/>
              <a:ext cx="330194" cy="168275"/>
            </a:xfrm>
            <a:custGeom>
              <a:avLst/>
              <a:gdLst>
                <a:gd name="T0" fmla="*/ 47 w 147"/>
                <a:gd name="T1" fmla="*/ 74 h 74"/>
                <a:gd name="T2" fmla="*/ 46 w 147"/>
                <a:gd name="T3" fmla="*/ 73 h 74"/>
                <a:gd name="T4" fmla="*/ 1 w 147"/>
                <a:gd name="T5" fmla="*/ 49 h 74"/>
                <a:gd name="T6" fmla="*/ 0 w 147"/>
                <a:gd name="T7" fmla="*/ 47 h 74"/>
                <a:gd name="T8" fmla="*/ 0 w 147"/>
                <a:gd name="T9" fmla="*/ 31 h 74"/>
                <a:gd name="T10" fmla="*/ 2 w 147"/>
                <a:gd name="T11" fmla="*/ 29 h 74"/>
                <a:gd name="T12" fmla="*/ 5 w 147"/>
                <a:gd name="T13" fmla="*/ 31 h 74"/>
                <a:gd name="T14" fmla="*/ 5 w 147"/>
                <a:gd name="T15" fmla="*/ 45 h 74"/>
                <a:gd name="T16" fmla="*/ 47 w 147"/>
                <a:gd name="T17" fmla="*/ 68 h 74"/>
                <a:gd name="T18" fmla="*/ 142 w 147"/>
                <a:gd name="T19" fmla="*/ 16 h 74"/>
                <a:gd name="T20" fmla="*/ 142 w 147"/>
                <a:gd name="T21" fmla="*/ 2 h 74"/>
                <a:gd name="T22" fmla="*/ 144 w 147"/>
                <a:gd name="T23" fmla="*/ 0 h 74"/>
                <a:gd name="T24" fmla="*/ 147 w 147"/>
                <a:gd name="T25" fmla="*/ 2 h 74"/>
                <a:gd name="T26" fmla="*/ 147 w 147"/>
                <a:gd name="T27" fmla="*/ 17 h 74"/>
                <a:gd name="T28" fmla="*/ 146 w 147"/>
                <a:gd name="T29" fmla="*/ 20 h 74"/>
                <a:gd name="T30" fmla="*/ 48 w 147"/>
                <a:gd name="T31" fmla="*/ 73 h 74"/>
                <a:gd name="T32" fmla="*/ 47 w 147"/>
                <a:gd name="T3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7" h="74">
                  <a:moveTo>
                    <a:pt x="47" y="74"/>
                  </a:moveTo>
                  <a:cubicBezTo>
                    <a:pt x="46" y="74"/>
                    <a:pt x="46" y="73"/>
                    <a:pt x="46" y="73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48"/>
                    <a:pt x="0" y="47"/>
                    <a:pt x="0" y="47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0"/>
                    <a:pt x="1" y="29"/>
                    <a:pt x="2" y="29"/>
                  </a:cubicBezTo>
                  <a:cubicBezTo>
                    <a:pt x="4" y="29"/>
                    <a:pt x="5" y="30"/>
                    <a:pt x="5" y="31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2" y="2"/>
                    <a:pt x="142" y="2"/>
                    <a:pt x="142" y="2"/>
                  </a:cubicBezTo>
                  <a:cubicBezTo>
                    <a:pt x="142" y="1"/>
                    <a:pt x="143" y="0"/>
                    <a:pt x="144" y="0"/>
                  </a:cubicBezTo>
                  <a:cubicBezTo>
                    <a:pt x="146" y="0"/>
                    <a:pt x="147" y="1"/>
                    <a:pt x="147" y="2"/>
                  </a:cubicBezTo>
                  <a:cubicBezTo>
                    <a:pt x="147" y="17"/>
                    <a:pt x="147" y="17"/>
                    <a:pt x="147" y="17"/>
                  </a:cubicBezTo>
                  <a:cubicBezTo>
                    <a:pt x="147" y="18"/>
                    <a:pt x="146" y="19"/>
                    <a:pt x="146" y="20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7" y="74"/>
                    <a:pt x="47" y="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3" name="Freeform 516">
              <a:extLst>
                <a:ext uri="{FF2B5EF4-FFF2-40B4-BE49-F238E27FC236}">
                  <a16:creationId xmlns:a16="http://schemas.microsoft.com/office/drawing/2014/main" id="{FC138533-D03F-B299-9358-3CE0F9D8C9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73226" y="3140081"/>
              <a:ext cx="11113" cy="47625"/>
            </a:xfrm>
            <a:custGeom>
              <a:avLst/>
              <a:gdLst>
                <a:gd name="T0" fmla="*/ 3 w 5"/>
                <a:gd name="T1" fmla="*/ 21 h 21"/>
                <a:gd name="T2" fmla="*/ 0 w 5"/>
                <a:gd name="T3" fmla="*/ 18 h 21"/>
                <a:gd name="T4" fmla="*/ 0 w 5"/>
                <a:gd name="T5" fmla="*/ 3 h 21"/>
                <a:gd name="T6" fmla="*/ 3 w 5"/>
                <a:gd name="T7" fmla="*/ 0 h 21"/>
                <a:gd name="T8" fmla="*/ 5 w 5"/>
                <a:gd name="T9" fmla="*/ 3 h 21"/>
                <a:gd name="T10" fmla="*/ 5 w 5"/>
                <a:gd name="T11" fmla="*/ 18 h 21"/>
                <a:gd name="T12" fmla="*/ 3 w 5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1">
                  <a:moveTo>
                    <a:pt x="3" y="21"/>
                  </a:moveTo>
                  <a:cubicBezTo>
                    <a:pt x="2" y="21"/>
                    <a:pt x="0" y="19"/>
                    <a:pt x="0" y="1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1"/>
                    <a:pt x="3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4" name="Freeform 517">
              <a:extLst>
                <a:ext uri="{FF2B5EF4-FFF2-40B4-BE49-F238E27FC236}">
                  <a16:creationId xmlns:a16="http://schemas.microsoft.com/office/drawing/2014/main" id="{8BF23DB7-E5E8-3A02-0C0C-B0DD7752D49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71649" y="2982921"/>
              <a:ext cx="330194" cy="168275"/>
            </a:xfrm>
            <a:custGeom>
              <a:avLst/>
              <a:gdLst>
                <a:gd name="T0" fmla="*/ 47 w 147"/>
                <a:gd name="T1" fmla="*/ 74 h 74"/>
                <a:gd name="T2" fmla="*/ 46 w 147"/>
                <a:gd name="T3" fmla="*/ 74 h 74"/>
                <a:gd name="T4" fmla="*/ 1 w 147"/>
                <a:gd name="T5" fmla="*/ 49 h 74"/>
                <a:gd name="T6" fmla="*/ 0 w 147"/>
                <a:gd name="T7" fmla="*/ 47 h 74"/>
                <a:gd name="T8" fmla="*/ 0 w 147"/>
                <a:gd name="T9" fmla="*/ 32 h 74"/>
                <a:gd name="T10" fmla="*/ 2 w 147"/>
                <a:gd name="T11" fmla="*/ 29 h 74"/>
                <a:gd name="T12" fmla="*/ 5 w 147"/>
                <a:gd name="T13" fmla="*/ 32 h 74"/>
                <a:gd name="T14" fmla="*/ 5 w 147"/>
                <a:gd name="T15" fmla="*/ 46 h 74"/>
                <a:gd name="T16" fmla="*/ 47 w 147"/>
                <a:gd name="T17" fmla="*/ 69 h 74"/>
                <a:gd name="T18" fmla="*/ 142 w 147"/>
                <a:gd name="T19" fmla="*/ 17 h 74"/>
                <a:gd name="T20" fmla="*/ 142 w 147"/>
                <a:gd name="T21" fmla="*/ 3 h 74"/>
                <a:gd name="T22" fmla="*/ 144 w 147"/>
                <a:gd name="T23" fmla="*/ 0 h 74"/>
                <a:gd name="T24" fmla="*/ 147 w 147"/>
                <a:gd name="T25" fmla="*/ 3 h 74"/>
                <a:gd name="T26" fmla="*/ 147 w 147"/>
                <a:gd name="T27" fmla="*/ 18 h 74"/>
                <a:gd name="T28" fmla="*/ 146 w 147"/>
                <a:gd name="T29" fmla="*/ 20 h 74"/>
                <a:gd name="T30" fmla="*/ 48 w 147"/>
                <a:gd name="T31" fmla="*/ 74 h 74"/>
                <a:gd name="T32" fmla="*/ 47 w 147"/>
                <a:gd name="T3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7" h="74">
                  <a:moveTo>
                    <a:pt x="47" y="74"/>
                  </a:moveTo>
                  <a:cubicBezTo>
                    <a:pt x="46" y="74"/>
                    <a:pt x="46" y="74"/>
                    <a:pt x="46" y="74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49"/>
                    <a:pt x="0" y="48"/>
                    <a:pt x="0" y="47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1"/>
                    <a:pt x="1" y="29"/>
                    <a:pt x="2" y="29"/>
                  </a:cubicBezTo>
                  <a:cubicBezTo>
                    <a:pt x="4" y="29"/>
                    <a:pt x="5" y="31"/>
                    <a:pt x="5" y="32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2" y="3"/>
                    <a:pt x="142" y="3"/>
                    <a:pt x="142" y="3"/>
                  </a:cubicBezTo>
                  <a:cubicBezTo>
                    <a:pt x="142" y="1"/>
                    <a:pt x="143" y="0"/>
                    <a:pt x="144" y="0"/>
                  </a:cubicBezTo>
                  <a:cubicBezTo>
                    <a:pt x="146" y="0"/>
                    <a:pt x="147" y="1"/>
                    <a:pt x="147" y="3"/>
                  </a:cubicBezTo>
                  <a:cubicBezTo>
                    <a:pt x="147" y="18"/>
                    <a:pt x="147" y="18"/>
                    <a:pt x="147" y="18"/>
                  </a:cubicBezTo>
                  <a:cubicBezTo>
                    <a:pt x="147" y="19"/>
                    <a:pt x="146" y="20"/>
                    <a:pt x="146" y="20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7" y="74"/>
                    <a:pt x="47" y="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5" name="Freeform 518">
              <a:extLst>
                <a:ext uri="{FF2B5EF4-FFF2-40B4-BE49-F238E27FC236}">
                  <a16:creationId xmlns:a16="http://schemas.microsoft.com/office/drawing/2014/main" id="{A96B4603-A3D3-FEC4-2E9D-F3387A03DEA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73226" y="3105150"/>
              <a:ext cx="11113" cy="46038"/>
            </a:xfrm>
            <a:custGeom>
              <a:avLst/>
              <a:gdLst>
                <a:gd name="T0" fmla="*/ 3 w 5"/>
                <a:gd name="T1" fmla="*/ 20 h 20"/>
                <a:gd name="T2" fmla="*/ 0 w 5"/>
                <a:gd name="T3" fmla="*/ 18 h 20"/>
                <a:gd name="T4" fmla="*/ 0 w 5"/>
                <a:gd name="T5" fmla="*/ 2 h 20"/>
                <a:gd name="T6" fmla="*/ 3 w 5"/>
                <a:gd name="T7" fmla="*/ 0 h 20"/>
                <a:gd name="T8" fmla="*/ 5 w 5"/>
                <a:gd name="T9" fmla="*/ 2 h 20"/>
                <a:gd name="T10" fmla="*/ 5 w 5"/>
                <a:gd name="T11" fmla="*/ 18 h 20"/>
                <a:gd name="T12" fmla="*/ 3 w 5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0">
                  <a:moveTo>
                    <a:pt x="3" y="20"/>
                  </a:moveTo>
                  <a:cubicBezTo>
                    <a:pt x="2" y="20"/>
                    <a:pt x="0" y="19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6" name="Freeform 519">
              <a:extLst>
                <a:ext uri="{FF2B5EF4-FFF2-40B4-BE49-F238E27FC236}">
                  <a16:creationId xmlns:a16="http://schemas.microsoft.com/office/drawing/2014/main" id="{780086C5-78FF-91ED-979F-DF45CDB9B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71647" y="3119448"/>
              <a:ext cx="147635" cy="101600"/>
            </a:xfrm>
            <a:custGeom>
              <a:avLst/>
              <a:gdLst>
                <a:gd name="T0" fmla="*/ 47 w 66"/>
                <a:gd name="T1" fmla="*/ 45 h 45"/>
                <a:gd name="T2" fmla="*/ 46 w 66"/>
                <a:gd name="T3" fmla="*/ 45 h 45"/>
                <a:gd name="T4" fmla="*/ 1 w 66"/>
                <a:gd name="T5" fmla="*/ 20 h 45"/>
                <a:gd name="T6" fmla="*/ 0 w 66"/>
                <a:gd name="T7" fmla="*/ 18 h 45"/>
                <a:gd name="T8" fmla="*/ 0 w 66"/>
                <a:gd name="T9" fmla="*/ 3 h 45"/>
                <a:gd name="T10" fmla="*/ 2 w 66"/>
                <a:gd name="T11" fmla="*/ 0 h 45"/>
                <a:gd name="T12" fmla="*/ 5 w 66"/>
                <a:gd name="T13" fmla="*/ 3 h 45"/>
                <a:gd name="T14" fmla="*/ 5 w 66"/>
                <a:gd name="T15" fmla="*/ 16 h 45"/>
                <a:gd name="T16" fmla="*/ 47 w 66"/>
                <a:gd name="T17" fmla="*/ 40 h 45"/>
                <a:gd name="T18" fmla="*/ 62 w 66"/>
                <a:gd name="T19" fmla="*/ 31 h 45"/>
                <a:gd name="T20" fmla="*/ 66 w 66"/>
                <a:gd name="T21" fmla="*/ 32 h 45"/>
                <a:gd name="T22" fmla="*/ 65 w 66"/>
                <a:gd name="T23" fmla="*/ 35 h 45"/>
                <a:gd name="T24" fmla="*/ 48 w 66"/>
                <a:gd name="T25" fmla="*/ 45 h 45"/>
                <a:gd name="T26" fmla="*/ 47 w 66"/>
                <a:gd name="T2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6" h="45">
                  <a:moveTo>
                    <a:pt x="47" y="45"/>
                  </a:moveTo>
                  <a:cubicBezTo>
                    <a:pt x="46" y="45"/>
                    <a:pt x="46" y="45"/>
                    <a:pt x="46" y="45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0"/>
                    <a:pt x="0" y="19"/>
                    <a:pt x="0" y="1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62" y="31"/>
                    <a:pt x="62" y="31"/>
                    <a:pt x="62" y="31"/>
                  </a:cubicBezTo>
                  <a:cubicBezTo>
                    <a:pt x="64" y="30"/>
                    <a:pt x="65" y="31"/>
                    <a:pt x="66" y="32"/>
                  </a:cubicBezTo>
                  <a:cubicBezTo>
                    <a:pt x="66" y="33"/>
                    <a:pt x="66" y="35"/>
                    <a:pt x="65" y="3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5"/>
                    <a:pt x="47" y="45"/>
                    <a:pt x="47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7" name="Freeform 520">
              <a:extLst>
                <a:ext uri="{FF2B5EF4-FFF2-40B4-BE49-F238E27FC236}">
                  <a16:creationId xmlns:a16="http://schemas.microsoft.com/office/drawing/2014/main" id="{83BBADF5-2623-552E-1CF6-D6E0FAC79A1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73263" y="3175000"/>
              <a:ext cx="11113" cy="46038"/>
            </a:xfrm>
            <a:custGeom>
              <a:avLst/>
              <a:gdLst>
                <a:gd name="T0" fmla="*/ 3 w 5"/>
                <a:gd name="T1" fmla="*/ 20 h 20"/>
                <a:gd name="T2" fmla="*/ 0 w 5"/>
                <a:gd name="T3" fmla="*/ 17 h 20"/>
                <a:gd name="T4" fmla="*/ 0 w 5"/>
                <a:gd name="T5" fmla="*/ 2 h 20"/>
                <a:gd name="T6" fmla="*/ 3 w 5"/>
                <a:gd name="T7" fmla="*/ 0 h 20"/>
                <a:gd name="T8" fmla="*/ 5 w 5"/>
                <a:gd name="T9" fmla="*/ 2 h 20"/>
                <a:gd name="T10" fmla="*/ 5 w 5"/>
                <a:gd name="T11" fmla="*/ 17 h 20"/>
                <a:gd name="T12" fmla="*/ 3 w 5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0">
                  <a:moveTo>
                    <a:pt x="3" y="20"/>
                  </a:moveTo>
                  <a:cubicBezTo>
                    <a:pt x="2" y="20"/>
                    <a:pt x="0" y="19"/>
                    <a:pt x="0" y="1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9"/>
                    <a:pt x="4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93" name="Shape51_20200717_142846">
            <a:extLst>
              <a:ext uri="{FF2B5EF4-FFF2-40B4-BE49-F238E27FC236}">
                <a16:creationId xmlns:a16="http://schemas.microsoft.com/office/drawing/2014/main" id="{13DA4FCE-D513-7E1D-0DC7-11F4023EBD80}"/>
              </a:ext>
            </a:extLst>
          </p:cNvPr>
          <p:cNvGrpSpPr>
            <a:grpSpLocks noChangeAspect="1"/>
          </p:cNvGrpSpPr>
          <p:nvPr/>
        </p:nvGrpSpPr>
        <p:grpSpPr>
          <a:xfrm>
            <a:off x="8413254" y="1272867"/>
            <a:ext cx="587727" cy="501356"/>
            <a:chOff x="-4284670" y="1791654"/>
            <a:chExt cx="388946" cy="331783"/>
          </a:xfrm>
          <a:solidFill>
            <a:schemeClr val="accent1"/>
          </a:solidFill>
        </p:grpSpPr>
        <p:sp>
          <p:nvSpPr>
            <p:cNvPr id="294" name="Freeform 1485">
              <a:extLst>
                <a:ext uri="{FF2B5EF4-FFF2-40B4-BE49-F238E27FC236}">
                  <a16:creationId xmlns:a16="http://schemas.microsoft.com/office/drawing/2014/main" id="{F9B248EF-3899-5F8A-B48E-3DE52CFAE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95758" y="2002789"/>
              <a:ext cx="11113" cy="101599"/>
            </a:xfrm>
            <a:custGeom>
              <a:avLst/>
              <a:gdLst>
                <a:gd name="T0" fmla="*/ 5 w 11"/>
                <a:gd name="T1" fmla="*/ 99 h 99"/>
                <a:gd name="T2" fmla="*/ 0 w 11"/>
                <a:gd name="T3" fmla="*/ 94 h 99"/>
                <a:gd name="T4" fmla="*/ 0 w 11"/>
                <a:gd name="T5" fmla="*/ 5 h 99"/>
                <a:gd name="T6" fmla="*/ 5 w 11"/>
                <a:gd name="T7" fmla="*/ 0 h 99"/>
                <a:gd name="T8" fmla="*/ 11 w 11"/>
                <a:gd name="T9" fmla="*/ 5 h 99"/>
                <a:gd name="T10" fmla="*/ 11 w 11"/>
                <a:gd name="T11" fmla="*/ 94 h 99"/>
                <a:gd name="T12" fmla="*/ 5 w 11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9">
                  <a:moveTo>
                    <a:pt x="5" y="99"/>
                  </a:moveTo>
                  <a:cubicBezTo>
                    <a:pt x="2" y="99"/>
                    <a:pt x="0" y="97"/>
                    <a:pt x="0" y="9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11" y="97"/>
                    <a:pt x="8" y="99"/>
                    <a:pt x="5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5" name="Freeform 1486">
              <a:extLst>
                <a:ext uri="{FF2B5EF4-FFF2-40B4-BE49-F238E27FC236}">
                  <a16:creationId xmlns:a16="http://schemas.microsoft.com/office/drawing/2014/main" id="{8C9D1691-1370-F029-4E65-FA59039205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64020" y="1863089"/>
              <a:ext cx="147638" cy="260348"/>
            </a:xfrm>
            <a:custGeom>
              <a:avLst/>
              <a:gdLst>
                <a:gd name="T0" fmla="*/ 89 w 142"/>
                <a:gd name="T1" fmla="*/ 250 h 250"/>
                <a:gd name="T2" fmla="*/ 71 w 142"/>
                <a:gd name="T3" fmla="*/ 242 h 250"/>
                <a:gd name="T4" fmla="*/ 53 w 142"/>
                <a:gd name="T5" fmla="*/ 250 h 250"/>
                <a:gd name="T6" fmla="*/ 29 w 142"/>
                <a:gd name="T7" fmla="*/ 227 h 250"/>
                <a:gd name="T8" fmla="*/ 29 w 142"/>
                <a:gd name="T9" fmla="*/ 128 h 250"/>
                <a:gd name="T10" fmla="*/ 22 w 142"/>
                <a:gd name="T11" fmla="*/ 130 h 250"/>
                <a:gd name="T12" fmla="*/ 7 w 142"/>
                <a:gd name="T13" fmla="*/ 125 h 250"/>
                <a:gd name="T14" fmla="*/ 0 w 142"/>
                <a:gd name="T15" fmla="*/ 110 h 250"/>
                <a:gd name="T16" fmla="*/ 0 w 142"/>
                <a:gd name="T17" fmla="*/ 34 h 250"/>
                <a:gd name="T18" fmla="*/ 35 w 142"/>
                <a:gd name="T19" fmla="*/ 0 h 250"/>
                <a:gd name="T20" fmla="*/ 107 w 142"/>
                <a:gd name="T21" fmla="*/ 0 h 250"/>
                <a:gd name="T22" fmla="*/ 142 w 142"/>
                <a:gd name="T23" fmla="*/ 34 h 250"/>
                <a:gd name="T24" fmla="*/ 142 w 142"/>
                <a:gd name="T25" fmla="*/ 110 h 250"/>
                <a:gd name="T26" fmla="*/ 135 w 142"/>
                <a:gd name="T27" fmla="*/ 125 h 250"/>
                <a:gd name="T28" fmla="*/ 120 w 142"/>
                <a:gd name="T29" fmla="*/ 130 h 250"/>
                <a:gd name="T30" fmla="*/ 113 w 142"/>
                <a:gd name="T31" fmla="*/ 128 h 250"/>
                <a:gd name="T32" fmla="*/ 113 w 142"/>
                <a:gd name="T33" fmla="*/ 227 h 250"/>
                <a:gd name="T34" fmla="*/ 89 w 142"/>
                <a:gd name="T35" fmla="*/ 250 h 250"/>
                <a:gd name="T36" fmla="*/ 71 w 142"/>
                <a:gd name="T37" fmla="*/ 221 h 250"/>
                <a:gd name="T38" fmla="*/ 77 w 142"/>
                <a:gd name="T39" fmla="*/ 227 h 250"/>
                <a:gd name="T40" fmla="*/ 89 w 142"/>
                <a:gd name="T41" fmla="*/ 239 h 250"/>
                <a:gd name="T42" fmla="*/ 102 w 142"/>
                <a:gd name="T43" fmla="*/ 227 h 250"/>
                <a:gd name="T44" fmla="*/ 102 w 142"/>
                <a:gd name="T45" fmla="*/ 110 h 250"/>
                <a:gd name="T46" fmla="*/ 107 w 142"/>
                <a:gd name="T47" fmla="*/ 104 h 250"/>
                <a:gd name="T48" fmla="*/ 107 w 142"/>
                <a:gd name="T49" fmla="*/ 104 h 250"/>
                <a:gd name="T50" fmla="*/ 113 w 142"/>
                <a:gd name="T51" fmla="*/ 110 h 250"/>
                <a:gd name="T52" fmla="*/ 121 w 142"/>
                <a:gd name="T53" fmla="*/ 119 h 250"/>
                <a:gd name="T54" fmla="*/ 128 w 142"/>
                <a:gd name="T55" fmla="*/ 117 h 250"/>
                <a:gd name="T56" fmla="*/ 131 w 142"/>
                <a:gd name="T57" fmla="*/ 110 h 250"/>
                <a:gd name="T58" fmla="*/ 131 w 142"/>
                <a:gd name="T59" fmla="*/ 34 h 250"/>
                <a:gd name="T60" fmla="*/ 107 w 142"/>
                <a:gd name="T61" fmla="*/ 11 h 250"/>
                <a:gd name="T62" fmla="*/ 35 w 142"/>
                <a:gd name="T63" fmla="*/ 11 h 250"/>
                <a:gd name="T64" fmla="*/ 11 w 142"/>
                <a:gd name="T65" fmla="*/ 34 h 250"/>
                <a:gd name="T66" fmla="*/ 11 w 142"/>
                <a:gd name="T67" fmla="*/ 110 h 250"/>
                <a:gd name="T68" fmla="*/ 14 w 142"/>
                <a:gd name="T69" fmla="*/ 117 h 250"/>
                <a:gd name="T70" fmla="*/ 21 w 142"/>
                <a:gd name="T71" fmla="*/ 119 h 250"/>
                <a:gd name="T72" fmla="*/ 29 w 142"/>
                <a:gd name="T73" fmla="*/ 110 h 250"/>
                <a:gd name="T74" fmla="*/ 35 w 142"/>
                <a:gd name="T75" fmla="*/ 104 h 250"/>
                <a:gd name="T76" fmla="*/ 40 w 142"/>
                <a:gd name="T77" fmla="*/ 110 h 250"/>
                <a:gd name="T78" fmla="*/ 40 w 142"/>
                <a:gd name="T79" fmla="*/ 227 h 250"/>
                <a:gd name="T80" fmla="*/ 53 w 142"/>
                <a:gd name="T81" fmla="*/ 239 h 250"/>
                <a:gd name="T82" fmla="*/ 66 w 142"/>
                <a:gd name="T83" fmla="*/ 227 h 250"/>
                <a:gd name="T84" fmla="*/ 71 w 142"/>
                <a:gd name="T85" fmla="*/ 221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2" h="250">
                  <a:moveTo>
                    <a:pt x="89" y="250"/>
                  </a:moveTo>
                  <a:cubicBezTo>
                    <a:pt x="82" y="250"/>
                    <a:pt x="75" y="247"/>
                    <a:pt x="71" y="242"/>
                  </a:cubicBezTo>
                  <a:cubicBezTo>
                    <a:pt x="67" y="247"/>
                    <a:pt x="60" y="250"/>
                    <a:pt x="53" y="250"/>
                  </a:cubicBezTo>
                  <a:cubicBezTo>
                    <a:pt x="40" y="250"/>
                    <a:pt x="29" y="240"/>
                    <a:pt x="29" y="227"/>
                  </a:cubicBezTo>
                  <a:cubicBezTo>
                    <a:pt x="29" y="128"/>
                    <a:pt x="29" y="128"/>
                    <a:pt x="29" y="128"/>
                  </a:cubicBezTo>
                  <a:cubicBezTo>
                    <a:pt x="27" y="129"/>
                    <a:pt x="25" y="130"/>
                    <a:pt x="22" y="130"/>
                  </a:cubicBezTo>
                  <a:cubicBezTo>
                    <a:pt x="16" y="131"/>
                    <a:pt x="11" y="129"/>
                    <a:pt x="7" y="125"/>
                  </a:cubicBezTo>
                  <a:cubicBezTo>
                    <a:pt x="3" y="121"/>
                    <a:pt x="0" y="116"/>
                    <a:pt x="0" y="11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16" y="0"/>
                    <a:pt x="35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26" y="0"/>
                    <a:pt x="142" y="15"/>
                    <a:pt x="142" y="34"/>
                  </a:cubicBezTo>
                  <a:cubicBezTo>
                    <a:pt x="142" y="110"/>
                    <a:pt x="142" y="110"/>
                    <a:pt x="142" y="110"/>
                  </a:cubicBezTo>
                  <a:cubicBezTo>
                    <a:pt x="142" y="116"/>
                    <a:pt x="140" y="121"/>
                    <a:pt x="135" y="125"/>
                  </a:cubicBezTo>
                  <a:cubicBezTo>
                    <a:pt x="131" y="129"/>
                    <a:pt x="126" y="131"/>
                    <a:pt x="120" y="130"/>
                  </a:cubicBezTo>
                  <a:cubicBezTo>
                    <a:pt x="118" y="130"/>
                    <a:pt x="115" y="129"/>
                    <a:pt x="113" y="128"/>
                  </a:cubicBezTo>
                  <a:cubicBezTo>
                    <a:pt x="113" y="227"/>
                    <a:pt x="113" y="227"/>
                    <a:pt x="113" y="227"/>
                  </a:cubicBezTo>
                  <a:cubicBezTo>
                    <a:pt x="113" y="240"/>
                    <a:pt x="102" y="250"/>
                    <a:pt x="89" y="250"/>
                  </a:cubicBezTo>
                  <a:close/>
                  <a:moveTo>
                    <a:pt x="71" y="221"/>
                  </a:moveTo>
                  <a:cubicBezTo>
                    <a:pt x="74" y="221"/>
                    <a:pt x="77" y="224"/>
                    <a:pt x="77" y="227"/>
                  </a:cubicBezTo>
                  <a:cubicBezTo>
                    <a:pt x="77" y="234"/>
                    <a:pt x="82" y="239"/>
                    <a:pt x="89" y="239"/>
                  </a:cubicBezTo>
                  <a:cubicBezTo>
                    <a:pt x="96" y="239"/>
                    <a:pt x="102" y="234"/>
                    <a:pt x="102" y="227"/>
                  </a:cubicBezTo>
                  <a:cubicBezTo>
                    <a:pt x="102" y="110"/>
                    <a:pt x="102" y="110"/>
                    <a:pt x="102" y="110"/>
                  </a:cubicBezTo>
                  <a:cubicBezTo>
                    <a:pt x="102" y="107"/>
                    <a:pt x="104" y="104"/>
                    <a:pt x="107" y="104"/>
                  </a:cubicBezTo>
                  <a:cubicBezTo>
                    <a:pt x="107" y="104"/>
                    <a:pt x="107" y="104"/>
                    <a:pt x="107" y="104"/>
                  </a:cubicBezTo>
                  <a:cubicBezTo>
                    <a:pt x="110" y="104"/>
                    <a:pt x="113" y="107"/>
                    <a:pt x="113" y="110"/>
                  </a:cubicBezTo>
                  <a:cubicBezTo>
                    <a:pt x="113" y="115"/>
                    <a:pt x="117" y="119"/>
                    <a:pt x="121" y="119"/>
                  </a:cubicBezTo>
                  <a:cubicBezTo>
                    <a:pt x="124" y="120"/>
                    <a:pt x="126" y="119"/>
                    <a:pt x="128" y="117"/>
                  </a:cubicBezTo>
                  <a:cubicBezTo>
                    <a:pt x="130" y="115"/>
                    <a:pt x="131" y="113"/>
                    <a:pt x="131" y="110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1" y="21"/>
                    <a:pt x="120" y="11"/>
                    <a:pt x="107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22" y="11"/>
                    <a:pt x="11" y="21"/>
                    <a:pt x="11" y="34"/>
                  </a:cubicBezTo>
                  <a:cubicBezTo>
                    <a:pt x="11" y="110"/>
                    <a:pt x="11" y="110"/>
                    <a:pt x="11" y="110"/>
                  </a:cubicBezTo>
                  <a:cubicBezTo>
                    <a:pt x="11" y="113"/>
                    <a:pt x="12" y="115"/>
                    <a:pt x="14" y="117"/>
                  </a:cubicBezTo>
                  <a:cubicBezTo>
                    <a:pt x="16" y="119"/>
                    <a:pt x="18" y="120"/>
                    <a:pt x="21" y="119"/>
                  </a:cubicBezTo>
                  <a:cubicBezTo>
                    <a:pt x="26" y="119"/>
                    <a:pt x="29" y="115"/>
                    <a:pt x="29" y="110"/>
                  </a:cubicBezTo>
                  <a:cubicBezTo>
                    <a:pt x="29" y="107"/>
                    <a:pt x="32" y="104"/>
                    <a:pt x="35" y="104"/>
                  </a:cubicBezTo>
                  <a:cubicBezTo>
                    <a:pt x="38" y="104"/>
                    <a:pt x="40" y="107"/>
                    <a:pt x="40" y="110"/>
                  </a:cubicBezTo>
                  <a:cubicBezTo>
                    <a:pt x="40" y="227"/>
                    <a:pt x="40" y="227"/>
                    <a:pt x="40" y="227"/>
                  </a:cubicBezTo>
                  <a:cubicBezTo>
                    <a:pt x="40" y="234"/>
                    <a:pt x="46" y="239"/>
                    <a:pt x="53" y="239"/>
                  </a:cubicBezTo>
                  <a:cubicBezTo>
                    <a:pt x="60" y="239"/>
                    <a:pt x="66" y="234"/>
                    <a:pt x="66" y="227"/>
                  </a:cubicBezTo>
                  <a:cubicBezTo>
                    <a:pt x="66" y="224"/>
                    <a:pt x="68" y="221"/>
                    <a:pt x="71" y="2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6" name="Freeform 1487">
              <a:extLst>
                <a:ext uri="{FF2B5EF4-FFF2-40B4-BE49-F238E27FC236}">
                  <a16:creationId xmlns:a16="http://schemas.microsoft.com/office/drawing/2014/main" id="{ECECC730-EE58-9ABF-7F8C-E1F21F3C13F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33858" y="1863089"/>
              <a:ext cx="87313" cy="12700"/>
            </a:xfrm>
            <a:custGeom>
              <a:avLst/>
              <a:gdLst>
                <a:gd name="T0" fmla="*/ 78 w 84"/>
                <a:gd name="T1" fmla="*/ 11 h 11"/>
                <a:gd name="T2" fmla="*/ 6 w 84"/>
                <a:gd name="T3" fmla="*/ 11 h 11"/>
                <a:gd name="T4" fmla="*/ 0 w 84"/>
                <a:gd name="T5" fmla="*/ 5 h 11"/>
                <a:gd name="T6" fmla="*/ 6 w 84"/>
                <a:gd name="T7" fmla="*/ 0 h 11"/>
                <a:gd name="T8" fmla="*/ 78 w 84"/>
                <a:gd name="T9" fmla="*/ 0 h 11"/>
                <a:gd name="T10" fmla="*/ 84 w 84"/>
                <a:gd name="T11" fmla="*/ 5 h 11"/>
                <a:gd name="T12" fmla="*/ 78 w 84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1">
                  <a:moveTo>
                    <a:pt x="78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2" y="0"/>
                    <a:pt x="84" y="2"/>
                    <a:pt x="84" y="5"/>
                  </a:cubicBezTo>
                  <a:cubicBezTo>
                    <a:pt x="84" y="8"/>
                    <a:pt x="82" y="11"/>
                    <a:pt x="78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7" name="Freeform 1488">
              <a:extLst>
                <a:ext uri="{FF2B5EF4-FFF2-40B4-BE49-F238E27FC236}">
                  <a16:creationId xmlns:a16="http://schemas.microsoft.com/office/drawing/2014/main" id="{C953D1BE-020D-600C-E616-93CBDB569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33858" y="1918652"/>
              <a:ext cx="11113" cy="65087"/>
            </a:xfrm>
            <a:custGeom>
              <a:avLst/>
              <a:gdLst>
                <a:gd name="T0" fmla="*/ 6 w 11"/>
                <a:gd name="T1" fmla="*/ 63 h 63"/>
                <a:gd name="T2" fmla="*/ 0 w 11"/>
                <a:gd name="T3" fmla="*/ 58 h 63"/>
                <a:gd name="T4" fmla="*/ 0 w 11"/>
                <a:gd name="T5" fmla="*/ 5 h 63"/>
                <a:gd name="T6" fmla="*/ 6 w 11"/>
                <a:gd name="T7" fmla="*/ 0 h 63"/>
                <a:gd name="T8" fmla="*/ 11 w 11"/>
                <a:gd name="T9" fmla="*/ 5 h 63"/>
                <a:gd name="T10" fmla="*/ 11 w 11"/>
                <a:gd name="T11" fmla="*/ 58 h 63"/>
                <a:gd name="T12" fmla="*/ 6 w 11"/>
                <a:gd name="T13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3">
                  <a:moveTo>
                    <a:pt x="6" y="63"/>
                  </a:moveTo>
                  <a:cubicBezTo>
                    <a:pt x="3" y="63"/>
                    <a:pt x="0" y="61"/>
                    <a:pt x="0" y="5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61"/>
                    <a:pt x="9" y="63"/>
                    <a:pt x="6" y="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8" name="Freeform 1489">
              <a:extLst>
                <a:ext uri="{FF2B5EF4-FFF2-40B4-BE49-F238E27FC236}">
                  <a16:creationId xmlns:a16="http://schemas.microsoft.com/office/drawing/2014/main" id="{BFE972C9-47C2-DEC5-48C3-DD5ADBE9950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57658" y="1918652"/>
              <a:ext cx="11113" cy="65087"/>
            </a:xfrm>
            <a:custGeom>
              <a:avLst/>
              <a:gdLst>
                <a:gd name="T0" fmla="*/ 5 w 11"/>
                <a:gd name="T1" fmla="*/ 63 h 63"/>
                <a:gd name="T2" fmla="*/ 0 w 11"/>
                <a:gd name="T3" fmla="*/ 58 h 63"/>
                <a:gd name="T4" fmla="*/ 0 w 11"/>
                <a:gd name="T5" fmla="*/ 5 h 63"/>
                <a:gd name="T6" fmla="*/ 5 w 11"/>
                <a:gd name="T7" fmla="*/ 0 h 63"/>
                <a:gd name="T8" fmla="*/ 11 w 11"/>
                <a:gd name="T9" fmla="*/ 5 h 63"/>
                <a:gd name="T10" fmla="*/ 11 w 11"/>
                <a:gd name="T11" fmla="*/ 58 h 63"/>
                <a:gd name="T12" fmla="*/ 5 w 11"/>
                <a:gd name="T13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3">
                  <a:moveTo>
                    <a:pt x="5" y="63"/>
                  </a:moveTo>
                  <a:cubicBezTo>
                    <a:pt x="2" y="63"/>
                    <a:pt x="0" y="61"/>
                    <a:pt x="0" y="5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61"/>
                    <a:pt x="8" y="63"/>
                    <a:pt x="5" y="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9" name="Freeform 1490">
              <a:extLst>
                <a:ext uri="{FF2B5EF4-FFF2-40B4-BE49-F238E27FC236}">
                  <a16:creationId xmlns:a16="http://schemas.microsoft.com/office/drawing/2014/main" id="{2FF4D8AB-0A9B-77FB-3161-6A347970DD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21157" y="1791654"/>
              <a:ext cx="61913" cy="63500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1 h 60"/>
                <a:gd name="T12" fmla="*/ 11 w 60"/>
                <a:gd name="T13" fmla="*/ 30 h 60"/>
                <a:gd name="T14" fmla="*/ 30 w 60"/>
                <a:gd name="T15" fmla="*/ 49 h 60"/>
                <a:gd name="T16" fmla="*/ 49 w 60"/>
                <a:gd name="T17" fmla="*/ 30 h 60"/>
                <a:gd name="T18" fmla="*/ 30 w 60"/>
                <a:gd name="T19" fmla="*/ 11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1"/>
                  </a:moveTo>
                  <a:cubicBezTo>
                    <a:pt x="20" y="11"/>
                    <a:pt x="11" y="19"/>
                    <a:pt x="11" y="30"/>
                  </a:cubicBezTo>
                  <a:cubicBezTo>
                    <a:pt x="11" y="40"/>
                    <a:pt x="20" y="49"/>
                    <a:pt x="30" y="49"/>
                  </a:cubicBezTo>
                  <a:cubicBezTo>
                    <a:pt x="41" y="49"/>
                    <a:pt x="49" y="40"/>
                    <a:pt x="49" y="30"/>
                  </a:cubicBezTo>
                  <a:cubicBezTo>
                    <a:pt x="49" y="19"/>
                    <a:pt x="41" y="11"/>
                    <a:pt x="3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0" name="Freeform 1491">
              <a:extLst>
                <a:ext uri="{FF2B5EF4-FFF2-40B4-BE49-F238E27FC236}">
                  <a16:creationId xmlns:a16="http://schemas.microsoft.com/office/drawing/2014/main" id="{AD31DE3F-D4B5-43F2-1382-76AC9A9D60A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84670" y="1905954"/>
              <a:ext cx="38100" cy="65087"/>
            </a:xfrm>
            <a:custGeom>
              <a:avLst/>
              <a:gdLst>
                <a:gd name="T0" fmla="*/ 31 w 37"/>
                <a:gd name="T1" fmla="*/ 62 h 62"/>
                <a:gd name="T2" fmla="*/ 27 w 37"/>
                <a:gd name="T3" fmla="*/ 60 h 62"/>
                <a:gd name="T4" fmla="*/ 1 w 37"/>
                <a:gd name="T5" fmla="*/ 35 h 62"/>
                <a:gd name="T6" fmla="*/ 0 w 37"/>
                <a:gd name="T7" fmla="*/ 31 h 62"/>
                <a:gd name="T8" fmla="*/ 1 w 37"/>
                <a:gd name="T9" fmla="*/ 27 h 62"/>
                <a:gd name="T10" fmla="*/ 27 w 37"/>
                <a:gd name="T11" fmla="*/ 2 h 62"/>
                <a:gd name="T12" fmla="*/ 34 w 37"/>
                <a:gd name="T13" fmla="*/ 2 h 62"/>
                <a:gd name="T14" fmla="*/ 34 w 37"/>
                <a:gd name="T15" fmla="*/ 10 h 62"/>
                <a:gd name="T16" fmla="*/ 13 w 37"/>
                <a:gd name="T17" fmla="*/ 31 h 62"/>
                <a:gd name="T18" fmla="*/ 34 w 37"/>
                <a:gd name="T19" fmla="*/ 52 h 62"/>
                <a:gd name="T20" fmla="*/ 34 w 37"/>
                <a:gd name="T21" fmla="*/ 60 h 62"/>
                <a:gd name="T22" fmla="*/ 31 w 37"/>
                <a:gd name="T23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62">
                  <a:moveTo>
                    <a:pt x="31" y="62"/>
                  </a:moveTo>
                  <a:cubicBezTo>
                    <a:pt x="29" y="62"/>
                    <a:pt x="28" y="61"/>
                    <a:pt x="27" y="60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4"/>
                    <a:pt x="0" y="32"/>
                    <a:pt x="0" y="31"/>
                  </a:cubicBezTo>
                  <a:cubicBezTo>
                    <a:pt x="0" y="30"/>
                    <a:pt x="0" y="28"/>
                    <a:pt x="1" y="27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9" y="0"/>
                    <a:pt x="32" y="0"/>
                    <a:pt x="34" y="2"/>
                  </a:cubicBezTo>
                  <a:cubicBezTo>
                    <a:pt x="37" y="4"/>
                    <a:pt x="37" y="8"/>
                    <a:pt x="34" y="10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7" y="55"/>
                    <a:pt x="37" y="58"/>
                    <a:pt x="34" y="60"/>
                  </a:cubicBezTo>
                  <a:cubicBezTo>
                    <a:pt x="33" y="61"/>
                    <a:pt x="32" y="62"/>
                    <a:pt x="31" y="6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1" name="Freeform 1492">
              <a:extLst>
                <a:ext uri="{FF2B5EF4-FFF2-40B4-BE49-F238E27FC236}">
                  <a16:creationId xmlns:a16="http://schemas.microsoft.com/office/drawing/2014/main" id="{59745E0F-CF88-F816-9252-CD7FDACC4A8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84666" y="1932941"/>
              <a:ext cx="84138" cy="12700"/>
            </a:xfrm>
            <a:custGeom>
              <a:avLst/>
              <a:gdLst>
                <a:gd name="T0" fmla="*/ 76 w 81"/>
                <a:gd name="T1" fmla="*/ 11 h 11"/>
                <a:gd name="T2" fmla="*/ 5 w 81"/>
                <a:gd name="T3" fmla="*/ 11 h 11"/>
                <a:gd name="T4" fmla="*/ 0 w 81"/>
                <a:gd name="T5" fmla="*/ 5 h 11"/>
                <a:gd name="T6" fmla="*/ 5 w 81"/>
                <a:gd name="T7" fmla="*/ 0 h 11"/>
                <a:gd name="T8" fmla="*/ 76 w 81"/>
                <a:gd name="T9" fmla="*/ 0 h 11"/>
                <a:gd name="T10" fmla="*/ 81 w 81"/>
                <a:gd name="T11" fmla="*/ 5 h 11"/>
                <a:gd name="T12" fmla="*/ 76 w 8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1">
                  <a:moveTo>
                    <a:pt x="76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9" y="0"/>
                    <a:pt x="81" y="2"/>
                    <a:pt x="81" y="5"/>
                  </a:cubicBezTo>
                  <a:cubicBezTo>
                    <a:pt x="81" y="8"/>
                    <a:pt x="79" y="11"/>
                    <a:pt x="7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2" name="Freeform 1493">
              <a:extLst>
                <a:ext uri="{FF2B5EF4-FFF2-40B4-BE49-F238E27FC236}">
                  <a16:creationId xmlns:a16="http://schemas.microsoft.com/office/drawing/2014/main" id="{2FEC1498-7A2E-D9CF-787C-6D8E222B950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5416" y="1905954"/>
              <a:ext cx="39688" cy="65087"/>
            </a:xfrm>
            <a:custGeom>
              <a:avLst/>
              <a:gdLst>
                <a:gd name="T0" fmla="*/ 6 w 38"/>
                <a:gd name="T1" fmla="*/ 62 h 62"/>
                <a:gd name="T2" fmla="*/ 3 w 38"/>
                <a:gd name="T3" fmla="*/ 60 h 62"/>
                <a:gd name="T4" fmla="*/ 3 w 38"/>
                <a:gd name="T5" fmla="*/ 52 h 62"/>
                <a:gd name="T6" fmla="*/ 24 w 38"/>
                <a:gd name="T7" fmla="*/ 31 h 62"/>
                <a:gd name="T8" fmla="*/ 3 w 38"/>
                <a:gd name="T9" fmla="*/ 10 h 62"/>
                <a:gd name="T10" fmla="*/ 3 w 38"/>
                <a:gd name="T11" fmla="*/ 2 h 62"/>
                <a:gd name="T12" fmla="*/ 10 w 38"/>
                <a:gd name="T13" fmla="*/ 2 h 62"/>
                <a:gd name="T14" fmla="*/ 36 w 38"/>
                <a:gd name="T15" fmla="*/ 27 h 62"/>
                <a:gd name="T16" fmla="*/ 36 w 38"/>
                <a:gd name="T17" fmla="*/ 35 h 62"/>
                <a:gd name="T18" fmla="*/ 10 w 38"/>
                <a:gd name="T19" fmla="*/ 60 h 62"/>
                <a:gd name="T20" fmla="*/ 6 w 38"/>
                <a:gd name="T2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62">
                  <a:moveTo>
                    <a:pt x="6" y="62"/>
                  </a:moveTo>
                  <a:cubicBezTo>
                    <a:pt x="5" y="62"/>
                    <a:pt x="4" y="61"/>
                    <a:pt x="3" y="60"/>
                  </a:cubicBezTo>
                  <a:cubicBezTo>
                    <a:pt x="0" y="58"/>
                    <a:pt x="0" y="55"/>
                    <a:pt x="3" y="52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8" y="0"/>
                    <a:pt x="10" y="2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8" y="29"/>
                    <a:pt x="38" y="33"/>
                    <a:pt x="36" y="35"/>
                  </a:cubicBezTo>
                  <a:cubicBezTo>
                    <a:pt x="10" y="60"/>
                    <a:pt x="10" y="60"/>
                    <a:pt x="10" y="60"/>
                  </a:cubicBezTo>
                  <a:cubicBezTo>
                    <a:pt x="9" y="61"/>
                    <a:pt x="8" y="62"/>
                    <a:pt x="6" y="6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3" name="Freeform 1494">
              <a:extLst>
                <a:ext uri="{FF2B5EF4-FFF2-40B4-BE49-F238E27FC236}">
                  <a16:creationId xmlns:a16="http://schemas.microsoft.com/office/drawing/2014/main" id="{071F285C-F586-EE9D-EA1C-6E746801B2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79862" y="1932941"/>
              <a:ext cx="84138" cy="12700"/>
            </a:xfrm>
            <a:custGeom>
              <a:avLst/>
              <a:gdLst>
                <a:gd name="T0" fmla="*/ 76 w 81"/>
                <a:gd name="T1" fmla="*/ 11 h 11"/>
                <a:gd name="T2" fmla="*/ 5 w 81"/>
                <a:gd name="T3" fmla="*/ 11 h 11"/>
                <a:gd name="T4" fmla="*/ 0 w 81"/>
                <a:gd name="T5" fmla="*/ 5 h 11"/>
                <a:gd name="T6" fmla="*/ 5 w 81"/>
                <a:gd name="T7" fmla="*/ 0 h 11"/>
                <a:gd name="T8" fmla="*/ 76 w 81"/>
                <a:gd name="T9" fmla="*/ 0 h 11"/>
                <a:gd name="T10" fmla="*/ 81 w 81"/>
                <a:gd name="T11" fmla="*/ 5 h 11"/>
                <a:gd name="T12" fmla="*/ 76 w 8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1">
                  <a:moveTo>
                    <a:pt x="76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9" y="0"/>
                    <a:pt x="81" y="2"/>
                    <a:pt x="81" y="5"/>
                  </a:cubicBezTo>
                  <a:cubicBezTo>
                    <a:pt x="81" y="8"/>
                    <a:pt x="79" y="11"/>
                    <a:pt x="7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4" name="Freeform 1495">
              <a:extLst>
                <a:ext uri="{FF2B5EF4-FFF2-40B4-BE49-F238E27FC236}">
                  <a16:creationId xmlns:a16="http://schemas.microsoft.com/office/drawing/2014/main" id="{E944325D-C0D7-987D-658D-995E22D51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29100" y="1799591"/>
              <a:ext cx="47625" cy="49213"/>
            </a:xfrm>
            <a:custGeom>
              <a:avLst/>
              <a:gdLst>
                <a:gd name="T0" fmla="*/ 6 w 47"/>
                <a:gd name="T1" fmla="*/ 47 h 47"/>
                <a:gd name="T2" fmla="*/ 0 w 47"/>
                <a:gd name="T3" fmla="*/ 41 h 47"/>
                <a:gd name="T4" fmla="*/ 0 w 47"/>
                <a:gd name="T5" fmla="*/ 6 h 47"/>
                <a:gd name="T6" fmla="*/ 6 w 47"/>
                <a:gd name="T7" fmla="*/ 0 h 47"/>
                <a:gd name="T8" fmla="*/ 41 w 47"/>
                <a:gd name="T9" fmla="*/ 0 h 47"/>
                <a:gd name="T10" fmla="*/ 47 w 47"/>
                <a:gd name="T11" fmla="*/ 6 h 47"/>
                <a:gd name="T12" fmla="*/ 41 w 47"/>
                <a:gd name="T13" fmla="*/ 11 h 47"/>
                <a:gd name="T14" fmla="*/ 11 w 47"/>
                <a:gd name="T15" fmla="*/ 11 h 47"/>
                <a:gd name="T16" fmla="*/ 11 w 47"/>
                <a:gd name="T17" fmla="*/ 41 h 47"/>
                <a:gd name="T18" fmla="*/ 6 w 4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6" y="47"/>
                  </a:moveTo>
                  <a:cubicBezTo>
                    <a:pt x="3" y="47"/>
                    <a:pt x="0" y="44"/>
                    <a:pt x="0" y="4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4" y="0"/>
                    <a:pt x="47" y="3"/>
                    <a:pt x="47" y="6"/>
                  </a:cubicBezTo>
                  <a:cubicBezTo>
                    <a:pt x="47" y="9"/>
                    <a:pt x="44" y="11"/>
                    <a:pt x="4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1" y="44"/>
                    <a:pt x="9" y="47"/>
                    <a:pt x="6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5" name="Freeform 1496">
              <a:extLst>
                <a:ext uri="{FF2B5EF4-FFF2-40B4-BE49-F238E27FC236}">
                  <a16:creationId xmlns:a16="http://schemas.microsoft.com/office/drawing/2014/main" id="{6EFEC54D-7C70-DB8E-9C62-790975F36B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29100" y="1799593"/>
              <a:ext cx="63500" cy="63500"/>
            </a:xfrm>
            <a:custGeom>
              <a:avLst/>
              <a:gdLst>
                <a:gd name="T0" fmla="*/ 56 w 62"/>
                <a:gd name="T1" fmla="*/ 61 h 61"/>
                <a:gd name="T2" fmla="*/ 52 w 62"/>
                <a:gd name="T3" fmla="*/ 59 h 61"/>
                <a:gd name="T4" fmla="*/ 2 w 62"/>
                <a:gd name="T5" fmla="*/ 9 h 61"/>
                <a:gd name="T6" fmla="*/ 2 w 62"/>
                <a:gd name="T7" fmla="*/ 2 h 61"/>
                <a:gd name="T8" fmla="*/ 9 w 62"/>
                <a:gd name="T9" fmla="*/ 2 h 61"/>
                <a:gd name="T10" fmla="*/ 59 w 62"/>
                <a:gd name="T11" fmla="*/ 52 h 61"/>
                <a:gd name="T12" fmla="*/ 59 w 62"/>
                <a:gd name="T13" fmla="*/ 59 h 61"/>
                <a:gd name="T14" fmla="*/ 56 w 62"/>
                <a:gd name="T1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61">
                  <a:moveTo>
                    <a:pt x="56" y="61"/>
                  </a:moveTo>
                  <a:cubicBezTo>
                    <a:pt x="54" y="61"/>
                    <a:pt x="53" y="60"/>
                    <a:pt x="52" y="5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0"/>
                    <a:pt x="9" y="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62" y="54"/>
                    <a:pt x="62" y="57"/>
                    <a:pt x="59" y="59"/>
                  </a:cubicBezTo>
                  <a:cubicBezTo>
                    <a:pt x="58" y="60"/>
                    <a:pt x="57" y="61"/>
                    <a:pt x="56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6" name="Freeform 1497">
              <a:extLst>
                <a:ext uri="{FF2B5EF4-FFF2-40B4-BE49-F238E27FC236}">
                  <a16:creationId xmlns:a16="http://schemas.microsoft.com/office/drawing/2014/main" id="{8AF639BB-D538-C4FF-E99E-304CA9ADB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00500" y="2029780"/>
              <a:ext cx="49213" cy="47624"/>
            </a:xfrm>
            <a:custGeom>
              <a:avLst/>
              <a:gdLst>
                <a:gd name="T0" fmla="*/ 41 w 47"/>
                <a:gd name="T1" fmla="*/ 47 h 47"/>
                <a:gd name="T2" fmla="*/ 6 w 47"/>
                <a:gd name="T3" fmla="*/ 47 h 47"/>
                <a:gd name="T4" fmla="*/ 0 w 47"/>
                <a:gd name="T5" fmla="*/ 41 h 47"/>
                <a:gd name="T6" fmla="*/ 6 w 47"/>
                <a:gd name="T7" fmla="*/ 36 h 47"/>
                <a:gd name="T8" fmla="*/ 36 w 47"/>
                <a:gd name="T9" fmla="*/ 36 h 47"/>
                <a:gd name="T10" fmla="*/ 36 w 47"/>
                <a:gd name="T11" fmla="*/ 6 h 47"/>
                <a:gd name="T12" fmla="*/ 41 w 47"/>
                <a:gd name="T13" fmla="*/ 0 h 47"/>
                <a:gd name="T14" fmla="*/ 47 w 47"/>
                <a:gd name="T15" fmla="*/ 6 h 47"/>
                <a:gd name="T16" fmla="*/ 47 w 47"/>
                <a:gd name="T17" fmla="*/ 41 h 47"/>
                <a:gd name="T18" fmla="*/ 41 w 4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41" y="47"/>
                  </a:moveTo>
                  <a:cubicBezTo>
                    <a:pt x="6" y="47"/>
                    <a:pt x="6" y="47"/>
                    <a:pt x="6" y="47"/>
                  </a:cubicBezTo>
                  <a:cubicBezTo>
                    <a:pt x="3" y="47"/>
                    <a:pt x="0" y="45"/>
                    <a:pt x="0" y="41"/>
                  </a:cubicBezTo>
                  <a:cubicBezTo>
                    <a:pt x="0" y="38"/>
                    <a:pt x="3" y="36"/>
                    <a:pt x="6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8" y="0"/>
                    <a:pt x="41" y="0"/>
                  </a:cubicBezTo>
                  <a:cubicBezTo>
                    <a:pt x="45" y="0"/>
                    <a:pt x="47" y="3"/>
                    <a:pt x="47" y="6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5"/>
                    <a:pt x="45" y="47"/>
                    <a:pt x="41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7" name="Freeform 1498">
              <a:extLst>
                <a:ext uri="{FF2B5EF4-FFF2-40B4-BE49-F238E27FC236}">
                  <a16:creationId xmlns:a16="http://schemas.microsoft.com/office/drawing/2014/main" id="{996738A8-C24D-3643-9235-875C48AFA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14788" y="2013904"/>
              <a:ext cx="65088" cy="63500"/>
            </a:xfrm>
            <a:custGeom>
              <a:avLst/>
              <a:gdLst>
                <a:gd name="T0" fmla="*/ 55 w 62"/>
                <a:gd name="T1" fmla="*/ 61 h 61"/>
                <a:gd name="T2" fmla="*/ 52 w 62"/>
                <a:gd name="T3" fmla="*/ 59 h 61"/>
                <a:gd name="T4" fmla="*/ 2 w 62"/>
                <a:gd name="T5" fmla="*/ 9 h 61"/>
                <a:gd name="T6" fmla="*/ 2 w 62"/>
                <a:gd name="T7" fmla="*/ 2 h 61"/>
                <a:gd name="T8" fmla="*/ 9 w 62"/>
                <a:gd name="T9" fmla="*/ 2 h 61"/>
                <a:gd name="T10" fmla="*/ 59 w 62"/>
                <a:gd name="T11" fmla="*/ 52 h 61"/>
                <a:gd name="T12" fmla="*/ 59 w 62"/>
                <a:gd name="T13" fmla="*/ 59 h 61"/>
                <a:gd name="T14" fmla="*/ 55 w 62"/>
                <a:gd name="T1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61">
                  <a:moveTo>
                    <a:pt x="55" y="61"/>
                  </a:moveTo>
                  <a:cubicBezTo>
                    <a:pt x="54" y="61"/>
                    <a:pt x="53" y="60"/>
                    <a:pt x="52" y="5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0"/>
                    <a:pt x="9" y="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62" y="54"/>
                    <a:pt x="62" y="57"/>
                    <a:pt x="59" y="59"/>
                  </a:cubicBezTo>
                  <a:cubicBezTo>
                    <a:pt x="58" y="60"/>
                    <a:pt x="57" y="61"/>
                    <a:pt x="55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8" name="Freeform 1499">
              <a:extLst>
                <a:ext uri="{FF2B5EF4-FFF2-40B4-BE49-F238E27FC236}">
                  <a16:creationId xmlns:a16="http://schemas.microsoft.com/office/drawing/2014/main" id="{90804839-C2C1-3AC4-C364-8DFEF849E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29100" y="2029780"/>
              <a:ext cx="47625" cy="47624"/>
            </a:xfrm>
            <a:custGeom>
              <a:avLst/>
              <a:gdLst>
                <a:gd name="T0" fmla="*/ 41 w 47"/>
                <a:gd name="T1" fmla="*/ 47 h 47"/>
                <a:gd name="T2" fmla="*/ 6 w 47"/>
                <a:gd name="T3" fmla="*/ 47 h 47"/>
                <a:gd name="T4" fmla="*/ 0 w 47"/>
                <a:gd name="T5" fmla="*/ 41 h 47"/>
                <a:gd name="T6" fmla="*/ 0 w 47"/>
                <a:gd name="T7" fmla="*/ 6 h 47"/>
                <a:gd name="T8" fmla="*/ 6 w 47"/>
                <a:gd name="T9" fmla="*/ 0 h 47"/>
                <a:gd name="T10" fmla="*/ 11 w 47"/>
                <a:gd name="T11" fmla="*/ 6 h 47"/>
                <a:gd name="T12" fmla="*/ 11 w 47"/>
                <a:gd name="T13" fmla="*/ 36 h 47"/>
                <a:gd name="T14" fmla="*/ 41 w 47"/>
                <a:gd name="T15" fmla="*/ 36 h 47"/>
                <a:gd name="T16" fmla="*/ 47 w 47"/>
                <a:gd name="T17" fmla="*/ 41 h 47"/>
                <a:gd name="T18" fmla="*/ 41 w 4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41" y="47"/>
                  </a:moveTo>
                  <a:cubicBezTo>
                    <a:pt x="6" y="47"/>
                    <a:pt x="6" y="47"/>
                    <a:pt x="6" y="47"/>
                  </a:cubicBezTo>
                  <a:cubicBezTo>
                    <a:pt x="3" y="47"/>
                    <a:pt x="0" y="45"/>
                    <a:pt x="0" y="4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4" y="36"/>
                    <a:pt x="47" y="38"/>
                    <a:pt x="47" y="41"/>
                  </a:cubicBezTo>
                  <a:cubicBezTo>
                    <a:pt x="47" y="45"/>
                    <a:pt x="44" y="47"/>
                    <a:pt x="41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9" name="Freeform 1500">
              <a:extLst>
                <a:ext uri="{FF2B5EF4-FFF2-40B4-BE49-F238E27FC236}">
                  <a16:creationId xmlns:a16="http://schemas.microsoft.com/office/drawing/2014/main" id="{CD0FA37A-2D1E-61F4-1E94-ACB8E0F05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29104" y="2013904"/>
              <a:ext cx="63500" cy="63500"/>
            </a:xfrm>
            <a:custGeom>
              <a:avLst/>
              <a:gdLst>
                <a:gd name="T0" fmla="*/ 6 w 62"/>
                <a:gd name="T1" fmla="*/ 61 h 61"/>
                <a:gd name="T2" fmla="*/ 2 w 62"/>
                <a:gd name="T3" fmla="*/ 59 h 61"/>
                <a:gd name="T4" fmla="*/ 2 w 62"/>
                <a:gd name="T5" fmla="*/ 52 h 61"/>
                <a:gd name="T6" fmla="*/ 52 w 62"/>
                <a:gd name="T7" fmla="*/ 2 h 61"/>
                <a:gd name="T8" fmla="*/ 59 w 62"/>
                <a:gd name="T9" fmla="*/ 2 h 61"/>
                <a:gd name="T10" fmla="*/ 59 w 62"/>
                <a:gd name="T11" fmla="*/ 9 h 61"/>
                <a:gd name="T12" fmla="*/ 9 w 62"/>
                <a:gd name="T13" fmla="*/ 59 h 61"/>
                <a:gd name="T14" fmla="*/ 6 w 62"/>
                <a:gd name="T1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61">
                  <a:moveTo>
                    <a:pt x="6" y="61"/>
                  </a:moveTo>
                  <a:cubicBezTo>
                    <a:pt x="4" y="61"/>
                    <a:pt x="3" y="60"/>
                    <a:pt x="2" y="59"/>
                  </a:cubicBezTo>
                  <a:cubicBezTo>
                    <a:pt x="0" y="57"/>
                    <a:pt x="0" y="54"/>
                    <a:pt x="2" y="52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4" y="0"/>
                    <a:pt x="57" y="0"/>
                    <a:pt x="59" y="2"/>
                  </a:cubicBezTo>
                  <a:cubicBezTo>
                    <a:pt x="62" y="4"/>
                    <a:pt x="62" y="7"/>
                    <a:pt x="59" y="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8" y="60"/>
                    <a:pt x="7" y="61"/>
                    <a:pt x="6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0" name="Freeform 1501">
              <a:extLst>
                <a:ext uri="{FF2B5EF4-FFF2-40B4-BE49-F238E27FC236}">
                  <a16:creationId xmlns:a16="http://schemas.microsoft.com/office/drawing/2014/main" id="{CA44222E-77A6-8078-0C7E-63AC2CCA626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00504" y="1799602"/>
              <a:ext cx="49213" cy="49213"/>
            </a:xfrm>
            <a:custGeom>
              <a:avLst/>
              <a:gdLst>
                <a:gd name="T0" fmla="*/ 41 w 47"/>
                <a:gd name="T1" fmla="*/ 47 h 47"/>
                <a:gd name="T2" fmla="*/ 36 w 47"/>
                <a:gd name="T3" fmla="*/ 41 h 47"/>
                <a:gd name="T4" fmla="*/ 36 w 47"/>
                <a:gd name="T5" fmla="*/ 11 h 47"/>
                <a:gd name="T6" fmla="*/ 6 w 47"/>
                <a:gd name="T7" fmla="*/ 11 h 47"/>
                <a:gd name="T8" fmla="*/ 0 w 47"/>
                <a:gd name="T9" fmla="*/ 6 h 47"/>
                <a:gd name="T10" fmla="*/ 6 w 47"/>
                <a:gd name="T11" fmla="*/ 0 h 47"/>
                <a:gd name="T12" fmla="*/ 41 w 47"/>
                <a:gd name="T13" fmla="*/ 0 h 47"/>
                <a:gd name="T14" fmla="*/ 47 w 47"/>
                <a:gd name="T15" fmla="*/ 6 h 47"/>
                <a:gd name="T16" fmla="*/ 47 w 47"/>
                <a:gd name="T17" fmla="*/ 41 h 47"/>
                <a:gd name="T18" fmla="*/ 41 w 4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41" y="47"/>
                  </a:moveTo>
                  <a:cubicBezTo>
                    <a:pt x="38" y="47"/>
                    <a:pt x="36" y="44"/>
                    <a:pt x="36" y="4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5" y="0"/>
                    <a:pt x="47" y="3"/>
                    <a:pt x="47" y="6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4"/>
                    <a:pt x="45" y="47"/>
                    <a:pt x="41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1" name="Freeform 1502">
              <a:extLst>
                <a:ext uri="{FF2B5EF4-FFF2-40B4-BE49-F238E27FC236}">
                  <a16:creationId xmlns:a16="http://schemas.microsoft.com/office/drawing/2014/main" id="{0599690E-D1FB-0D1E-CD7B-ABD50605B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14787" y="1799605"/>
              <a:ext cx="65088" cy="63500"/>
            </a:xfrm>
            <a:custGeom>
              <a:avLst/>
              <a:gdLst>
                <a:gd name="T0" fmla="*/ 6 w 62"/>
                <a:gd name="T1" fmla="*/ 61 h 61"/>
                <a:gd name="T2" fmla="*/ 2 w 62"/>
                <a:gd name="T3" fmla="*/ 59 h 61"/>
                <a:gd name="T4" fmla="*/ 2 w 62"/>
                <a:gd name="T5" fmla="*/ 52 h 61"/>
                <a:gd name="T6" fmla="*/ 52 w 62"/>
                <a:gd name="T7" fmla="*/ 2 h 61"/>
                <a:gd name="T8" fmla="*/ 59 w 62"/>
                <a:gd name="T9" fmla="*/ 2 h 61"/>
                <a:gd name="T10" fmla="*/ 59 w 62"/>
                <a:gd name="T11" fmla="*/ 9 h 61"/>
                <a:gd name="T12" fmla="*/ 9 w 62"/>
                <a:gd name="T13" fmla="*/ 59 h 61"/>
                <a:gd name="T14" fmla="*/ 6 w 62"/>
                <a:gd name="T1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61">
                  <a:moveTo>
                    <a:pt x="6" y="61"/>
                  </a:moveTo>
                  <a:cubicBezTo>
                    <a:pt x="4" y="61"/>
                    <a:pt x="3" y="60"/>
                    <a:pt x="2" y="59"/>
                  </a:cubicBezTo>
                  <a:cubicBezTo>
                    <a:pt x="0" y="57"/>
                    <a:pt x="0" y="54"/>
                    <a:pt x="2" y="52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4" y="0"/>
                    <a:pt x="57" y="0"/>
                    <a:pt x="59" y="2"/>
                  </a:cubicBezTo>
                  <a:cubicBezTo>
                    <a:pt x="62" y="4"/>
                    <a:pt x="62" y="7"/>
                    <a:pt x="59" y="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8" y="60"/>
                    <a:pt x="7" y="61"/>
                    <a:pt x="6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12" name="Shape53_20200717_142846">
            <a:extLst>
              <a:ext uri="{FF2B5EF4-FFF2-40B4-BE49-F238E27FC236}">
                <a16:creationId xmlns:a16="http://schemas.microsoft.com/office/drawing/2014/main" id="{4FA8970F-7301-5B47-F95A-0CD80A758024}"/>
              </a:ext>
            </a:extLst>
          </p:cNvPr>
          <p:cNvGrpSpPr>
            <a:grpSpLocks noChangeAspect="1"/>
          </p:cNvGrpSpPr>
          <p:nvPr/>
        </p:nvGrpSpPr>
        <p:grpSpPr>
          <a:xfrm>
            <a:off x="8337690" y="2561632"/>
            <a:ext cx="738843" cy="534940"/>
            <a:chOff x="-2125661" y="2574311"/>
            <a:chExt cx="488949" cy="354011"/>
          </a:xfrm>
          <a:solidFill>
            <a:schemeClr val="accent1"/>
          </a:solidFill>
        </p:grpSpPr>
        <p:sp>
          <p:nvSpPr>
            <p:cNvPr id="313" name="Freeform 1510">
              <a:extLst>
                <a:ext uri="{FF2B5EF4-FFF2-40B4-BE49-F238E27FC236}">
                  <a16:creationId xmlns:a16="http://schemas.microsoft.com/office/drawing/2014/main" id="{04A7819F-376A-B8ED-C518-F2B7CA6A43D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25611" y="2726710"/>
              <a:ext cx="11113" cy="163513"/>
            </a:xfrm>
            <a:custGeom>
              <a:avLst/>
              <a:gdLst>
                <a:gd name="T0" fmla="*/ 6 w 11"/>
                <a:gd name="T1" fmla="*/ 156 h 156"/>
                <a:gd name="T2" fmla="*/ 0 w 11"/>
                <a:gd name="T3" fmla="*/ 150 h 156"/>
                <a:gd name="T4" fmla="*/ 0 w 11"/>
                <a:gd name="T5" fmla="*/ 6 h 156"/>
                <a:gd name="T6" fmla="*/ 6 w 11"/>
                <a:gd name="T7" fmla="*/ 0 h 156"/>
                <a:gd name="T8" fmla="*/ 11 w 11"/>
                <a:gd name="T9" fmla="*/ 6 h 156"/>
                <a:gd name="T10" fmla="*/ 11 w 11"/>
                <a:gd name="T11" fmla="*/ 150 h 156"/>
                <a:gd name="T12" fmla="*/ 6 w 11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56">
                  <a:moveTo>
                    <a:pt x="6" y="156"/>
                  </a:moveTo>
                  <a:cubicBezTo>
                    <a:pt x="3" y="156"/>
                    <a:pt x="0" y="153"/>
                    <a:pt x="0" y="15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150"/>
                    <a:pt x="11" y="150"/>
                    <a:pt x="11" y="150"/>
                  </a:cubicBezTo>
                  <a:cubicBezTo>
                    <a:pt x="11" y="153"/>
                    <a:pt x="9" y="156"/>
                    <a:pt x="6" y="1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4" name="Freeform 1511">
              <a:extLst>
                <a:ext uri="{FF2B5EF4-FFF2-40B4-BE49-F238E27FC236}">
                  <a16:creationId xmlns:a16="http://schemas.microsoft.com/office/drawing/2014/main" id="{5796693F-49CA-CAA2-036B-B46ECBFBE3B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82799" y="2648923"/>
              <a:ext cx="290513" cy="241300"/>
            </a:xfrm>
            <a:custGeom>
              <a:avLst/>
              <a:gdLst>
                <a:gd name="T0" fmla="*/ 6 w 280"/>
                <a:gd name="T1" fmla="*/ 231 h 231"/>
                <a:gd name="T2" fmla="*/ 0 w 280"/>
                <a:gd name="T3" fmla="*/ 225 h 231"/>
                <a:gd name="T4" fmla="*/ 0 w 280"/>
                <a:gd name="T5" fmla="*/ 31 h 231"/>
                <a:gd name="T6" fmla="*/ 31 w 280"/>
                <a:gd name="T7" fmla="*/ 0 h 231"/>
                <a:gd name="T8" fmla="*/ 275 w 280"/>
                <a:gd name="T9" fmla="*/ 0 h 231"/>
                <a:gd name="T10" fmla="*/ 280 w 280"/>
                <a:gd name="T11" fmla="*/ 6 h 231"/>
                <a:gd name="T12" fmla="*/ 275 w 280"/>
                <a:gd name="T13" fmla="*/ 11 h 231"/>
                <a:gd name="T14" fmla="*/ 31 w 280"/>
                <a:gd name="T15" fmla="*/ 11 h 231"/>
                <a:gd name="T16" fmla="*/ 11 w 280"/>
                <a:gd name="T17" fmla="*/ 31 h 231"/>
                <a:gd name="T18" fmla="*/ 11 w 280"/>
                <a:gd name="T19" fmla="*/ 225 h 231"/>
                <a:gd name="T20" fmla="*/ 6 w 280"/>
                <a:gd name="T21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0" h="231">
                  <a:moveTo>
                    <a:pt x="6" y="231"/>
                  </a:moveTo>
                  <a:cubicBezTo>
                    <a:pt x="3" y="231"/>
                    <a:pt x="0" y="228"/>
                    <a:pt x="0" y="225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275" y="0"/>
                    <a:pt x="275" y="0"/>
                    <a:pt x="275" y="0"/>
                  </a:cubicBezTo>
                  <a:cubicBezTo>
                    <a:pt x="278" y="0"/>
                    <a:pt x="280" y="3"/>
                    <a:pt x="280" y="6"/>
                  </a:cubicBezTo>
                  <a:cubicBezTo>
                    <a:pt x="280" y="9"/>
                    <a:pt x="278" y="11"/>
                    <a:pt x="275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0" y="11"/>
                    <a:pt x="11" y="20"/>
                    <a:pt x="11" y="31"/>
                  </a:cubicBezTo>
                  <a:cubicBezTo>
                    <a:pt x="11" y="225"/>
                    <a:pt x="11" y="225"/>
                    <a:pt x="11" y="225"/>
                  </a:cubicBezTo>
                  <a:cubicBezTo>
                    <a:pt x="11" y="228"/>
                    <a:pt x="9" y="231"/>
                    <a:pt x="6" y="2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5" name="Freeform 1512">
              <a:extLst>
                <a:ext uri="{FF2B5EF4-FFF2-40B4-BE49-F238E27FC236}">
                  <a16:creationId xmlns:a16="http://schemas.microsoft.com/office/drawing/2014/main" id="{5CC10070-E452-8DF6-440E-536AA218C0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25661" y="2880697"/>
              <a:ext cx="454024" cy="47625"/>
            </a:xfrm>
            <a:custGeom>
              <a:avLst/>
              <a:gdLst>
                <a:gd name="T0" fmla="*/ 396 w 437"/>
                <a:gd name="T1" fmla="*/ 47 h 47"/>
                <a:gd name="T2" fmla="*/ 42 w 437"/>
                <a:gd name="T3" fmla="*/ 47 h 47"/>
                <a:gd name="T4" fmla="*/ 0 w 437"/>
                <a:gd name="T5" fmla="*/ 6 h 47"/>
                <a:gd name="T6" fmla="*/ 6 w 437"/>
                <a:gd name="T7" fmla="*/ 0 h 47"/>
                <a:gd name="T8" fmla="*/ 160 w 437"/>
                <a:gd name="T9" fmla="*/ 0 h 47"/>
                <a:gd name="T10" fmla="*/ 172 w 437"/>
                <a:gd name="T11" fmla="*/ 8 h 47"/>
                <a:gd name="T12" fmla="*/ 174 w 437"/>
                <a:gd name="T13" fmla="*/ 9 h 47"/>
                <a:gd name="T14" fmla="*/ 263 w 437"/>
                <a:gd name="T15" fmla="*/ 9 h 47"/>
                <a:gd name="T16" fmla="*/ 265 w 437"/>
                <a:gd name="T17" fmla="*/ 8 h 47"/>
                <a:gd name="T18" fmla="*/ 277 w 437"/>
                <a:gd name="T19" fmla="*/ 0 h 47"/>
                <a:gd name="T20" fmla="*/ 432 w 437"/>
                <a:gd name="T21" fmla="*/ 0 h 47"/>
                <a:gd name="T22" fmla="*/ 437 w 437"/>
                <a:gd name="T23" fmla="*/ 6 h 47"/>
                <a:gd name="T24" fmla="*/ 396 w 437"/>
                <a:gd name="T25" fmla="*/ 47 h 47"/>
                <a:gd name="T26" fmla="*/ 12 w 437"/>
                <a:gd name="T27" fmla="*/ 11 h 47"/>
                <a:gd name="T28" fmla="*/ 42 w 437"/>
                <a:gd name="T29" fmla="*/ 36 h 47"/>
                <a:gd name="T30" fmla="*/ 396 w 437"/>
                <a:gd name="T31" fmla="*/ 36 h 47"/>
                <a:gd name="T32" fmla="*/ 426 w 437"/>
                <a:gd name="T33" fmla="*/ 11 h 47"/>
                <a:gd name="T34" fmla="*/ 277 w 437"/>
                <a:gd name="T35" fmla="*/ 11 h 47"/>
                <a:gd name="T36" fmla="*/ 275 w 437"/>
                <a:gd name="T37" fmla="*/ 12 h 47"/>
                <a:gd name="T38" fmla="*/ 275 w 437"/>
                <a:gd name="T39" fmla="*/ 12 h 47"/>
                <a:gd name="T40" fmla="*/ 263 w 437"/>
                <a:gd name="T41" fmla="*/ 20 h 47"/>
                <a:gd name="T42" fmla="*/ 174 w 437"/>
                <a:gd name="T43" fmla="*/ 20 h 47"/>
                <a:gd name="T44" fmla="*/ 162 w 437"/>
                <a:gd name="T45" fmla="*/ 12 h 47"/>
                <a:gd name="T46" fmla="*/ 160 w 437"/>
                <a:gd name="T47" fmla="*/ 11 h 47"/>
                <a:gd name="T48" fmla="*/ 12 w 437"/>
                <a:gd name="T49" fmla="*/ 11 h 47"/>
                <a:gd name="T50" fmla="*/ 270 w 437"/>
                <a:gd name="T51" fmla="*/ 10 h 47"/>
                <a:gd name="T52" fmla="*/ 270 w 437"/>
                <a:gd name="T53" fmla="*/ 1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7" h="47">
                  <a:moveTo>
                    <a:pt x="396" y="47"/>
                  </a:moveTo>
                  <a:cubicBezTo>
                    <a:pt x="42" y="47"/>
                    <a:pt x="42" y="47"/>
                    <a:pt x="42" y="47"/>
                  </a:cubicBezTo>
                  <a:cubicBezTo>
                    <a:pt x="19" y="47"/>
                    <a:pt x="0" y="2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65" y="0"/>
                    <a:pt x="170" y="3"/>
                    <a:pt x="172" y="8"/>
                  </a:cubicBezTo>
                  <a:cubicBezTo>
                    <a:pt x="172" y="9"/>
                    <a:pt x="173" y="9"/>
                    <a:pt x="174" y="9"/>
                  </a:cubicBezTo>
                  <a:cubicBezTo>
                    <a:pt x="263" y="9"/>
                    <a:pt x="263" y="9"/>
                    <a:pt x="263" y="9"/>
                  </a:cubicBezTo>
                  <a:cubicBezTo>
                    <a:pt x="264" y="9"/>
                    <a:pt x="265" y="9"/>
                    <a:pt x="265" y="8"/>
                  </a:cubicBezTo>
                  <a:cubicBezTo>
                    <a:pt x="267" y="3"/>
                    <a:pt x="272" y="0"/>
                    <a:pt x="277" y="0"/>
                  </a:cubicBezTo>
                  <a:cubicBezTo>
                    <a:pt x="432" y="0"/>
                    <a:pt x="432" y="0"/>
                    <a:pt x="432" y="0"/>
                  </a:cubicBezTo>
                  <a:cubicBezTo>
                    <a:pt x="435" y="0"/>
                    <a:pt x="437" y="3"/>
                    <a:pt x="437" y="6"/>
                  </a:cubicBezTo>
                  <a:cubicBezTo>
                    <a:pt x="437" y="29"/>
                    <a:pt x="418" y="47"/>
                    <a:pt x="396" y="47"/>
                  </a:cubicBezTo>
                  <a:close/>
                  <a:moveTo>
                    <a:pt x="12" y="11"/>
                  </a:moveTo>
                  <a:cubicBezTo>
                    <a:pt x="14" y="25"/>
                    <a:pt x="27" y="36"/>
                    <a:pt x="42" y="36"/>
                  </a:cubicBezTo>
                  <a:cubicBezTo>
                    <a:pt x="396" y="36"/>
                    <a:pt x="396" y="36"/>
                    <a:pt x="396" y="36"/>
                  </a:cubicBezTo>
                  <a:cubicBezTo>
                    <a:pt x="411" y="36"/>
                    <a:pt x="423" y="25"/>
                    <a:pt x="426" y="11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6" y="11"/>
                    <a:pt x="275" y="12"/>
                    <a:pt x="275" y="12"/>
                  </a:cubicBezTo>
                  <a:cubicBezTo>
                    <a:pt x="275" y="12"/>
                    <a:pt x="275" y="12"/>
                    <a:pt x="275" y="12"/>
                  </a:cubicBezTo>
                  <a:cubicBezTo>
                    <a:pt x="273" y="17"/>
                    <a:pt x="268" y="20"/>
                    <a:pt x="263" y="20"/>
                  </a:cubicBezTo>
                  <a:cubicBezTo>
                    <a:pt x="174" y="20"/>
                    <a:pt x="174" y="20"/>
                    <a:pt x="174" y="20"/>
                  </a:cubicBezTo>
                  <a:cubicBezTo>
                    <a:pt x="169" y="20"/>
                    <a:pt x="164" y="17"/>
                    <a:pt x="162" y="12"/>
                  </a:cubicBezTo>
                  <a:cubicBezTo>
                    <a:pt x="162" y="12"/>
                    <a:pt x="161" y="11"/>
                    <a:pt x="160" y="11"/>
                  </a:cubicBezTo>
                  <a:lnTo>
                    <a:pt x="12" y="11"/>
                  </a:lnTo>
                  <a:close/>
                  <a:moveTo>
                    <a:pt x="270" y="10"/>
                  </a:moveTo>
                  <a:cubicBezTo>
                    <a:pt x="270" y="10"/>
                    <a:pt x="270" y="10"/>
                    <a:pt x="270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6" name="Freeform 1513">
              <a:extLst>
                <a:ext uri="{FF2B5EF4-FFF2-40B4-BE49-F238E27FC236}">
                  <a16:creationId xmlns:a16="http://schemas.microsoft.com/office/drawing/2014/main" id="{B71C6DA1-CA62-5150-D907-0AAA19499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47836" y="2612408"/>
              <a:ext cx="57150" cy="82550"/>
            </a:xfrm>
            <a:custGeom>
              <a:avLst/>
              <a:gdLst>
                <a:gd name="T0" fmla="*/ 26 w 54"/>
                <a:gd name="T1" fmla="*/ 78 h 78"/>
                <a:gd name="T2" fmla="*/ 1 w 54"/>
                <a:gd name="T3" fmla="*/ 65 h 78"/>
                <a:gd name="T4" fmla="*/ 2 w 54"/>
                <a:gd name="T5" fmla="*/ 57 h 78"/>
                <a:gd name="T6" fmla="*/ 10 w 54"/>
                <a:gd name="T7" fmla="*/ 58 h 78"/>
                <a:gd name="T8" fmla="*/ 37 w 54"/>
                <a:gd name="T9" fmla="*/ 64 h 78"/>
                <a:gd name="T10" fmla="*/ 37 w 54"/>
                <a:gd name="T11" fmla="*/ 64 h 78"/>
                <a:gd name="T12" fmla="*/ 42 w 54"/>
                <a:gd name="T13" fmla="*/ 55 h 78"/>
                <a:gd name="T14" fmla="*/ 34 w 54"/>
                <a:gd name="T15" fmla="*/ 45 h 78"/>
                <a:gd name="T16" fmla="*/ 16 w 54"/>
                <a:gd name="T17" fmla="*/ 39 h 78"/>
                <a:gd name="T18" fmla="*/ 1 w 54"/>
                <a:gd name="T19" fmla="*/ 20 h 78"/>
                <a:gd name="T20" fmla="*/ 7 w 54"/>
                <a:gd name="T21" fmla="*/ 6 h 78"/>
                <a:gd name="T22" fmla="*/ 27 w 54"/>
                <a:gd name="T23" fmla="*/ 0 h 78"/>
                <a:gd name="T24" fmla="*/ 53 w 54"/>
                <a:gd name="T25" fmla="*/ 17 h 78"/>
                <a:gd name="T26" fmla="*/ 49 w 54"/>
                <a:gd name="T27" fmla="*/ 24 h 78"/>
                <a:gd name="T28" fmla="*/ 42 w 54"/>
                <a:gd name="T29" fmla="*/ 20 h 78"/>
                <a:gd name="T30" fmla="*/ 27 w 54"/>
                <a:gd name="T31" fmla="*/ 11 h 78"/>
                <a:gd name="T32" fmla="*/ 14 w 54"/>
                <a:gd name="T33" fmla="*/ 14 h 78"/>
                <a:gd name="T34" fmla="*/ 12 w 54"/>
                <a:gd name="T35" fmla="*/ 20 h 78"/>
                <a:gd name="T36" fmla="*/ 19 w 54"/>
                <a:gd name="T37" fmla="*/ 29 h 78"/>
                <a:gd name="T38" fmla="*/ 37 w 54"/>
                <a:gd name="T39" fmla="*/ 34 h 78"/>
                <a:gd name="T40" fmla="*/ 53 w 54"/>
                <a:gd name="T41" fmla="*/ 54 h 78"/>
                <a:gd name="T42" fmla="*/ 41 w 54"/>
                <a:gd name="T43" fmla="*/ 74 h 78"/>
                <a:gd name="T44" fmla="*/ 26 w 54"/>
                <a:gd name="T4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78">
                  <a:moveTo>
                    <a:pt x="26" y="78"/>
                  </a:moveTo>
                  <a:cubicBezTo>
                    <a:pt x="18" y="78"/>
                    <a:pt x="9" y="75"/>
                    <a:pt x="1" y="65"/>
                  </a:cubicBezTo>
                  <a:cubicBezTo>
                    <a:pt x="0" y="63"/>
                    <a:pt x="0" y="59"/>
                    <a:pt x="2" y="57"/>
                  </a:cubicBezTo>
                  <a:cubicBezTo>
                    <a:pt x="5" y="56"/>
                    <a:pt x="8" y="56"/>
                    <a:pt x="10" y="58"/>
                  </a:cubicBezTo>
                  <a:cubicBezTo>
                    <a:pt x="21" y="72"/>
                    <a:pt x="35" y="65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8" y="64"/>
                    <a:pt x="43" y="61"/>
                    <a:pt x="42" y="55"/>
                  </a:cubicBezTo>
                  <a:cubicBezTo>
                    <a:pt x="41" y="47"/>
                    <a:pt x="34" y="45"/>
                    <a:pt x="34" y="45"/>
                  </a:cubicBezTo>
                  <a:cubicBezTo>
                    <a:pt x="34" y="45"/>
                    <a:pt x="25" y="42"/>
                    <a:pt x="16" y="39"/>
                  </a:cubicBezTo>
                  <a:cubicBezTo>
                    <a:pt x="3" y="36"/>
                    <a:pt x="1" y="27"/>
                    <a:pt x="1" y="20"/>
                  </a:cubicBezTo>
                  <a:cubicBezTo>
                    <a:pt x="1" y="14"/>
                    <a:pt x="3" y="9"/>
                    <a:pt x="7" y="6"/>
                  </a:cubicBezTo>
                  <a:cubicBezTo>
                    <a:pt x="12" y="2"/>
                    <a:pt x="18" y="0"/>
                    <a:pt x="27" y="0"/>
                  </a:cubicBezTo>
                  <a:cubicBezTo>
                    <a:pt x="44" y="0"/>
                    <a:pt x="51" y="11"/>
                    <a:pt x="53" y="17"/>
                  </a:cubicBezTo>
                  <a:cubicBezTo>
                    <a:pt x="54" y="20"/>
                    <a:pt x="52" y="23"/>
                    <a:pt x="49" y="24"/>
                  </a:cubicBezTo>
                  <a:cubicBezTo>
                    <a:pt x="46" y="25"/>
                    <a:pt x="43" y="23"/>
                    <a:pt x="42" y="20"/>
                  </a:cubicBezTo>
                  <a:cubicBezTo>
                    <a:pt x="42" y="19"/>
                    <a:pt x="39" y="11"/>
                    <a:pt x="27" y="11"/>
                  </a:cubicBezTo>
                  <a:cubicBezTo>
                    <a:pt x="21" y="11"/>
                    <a:pt x="17" y="12"/>
                    <a:pt x="14" y="14"/>
                  </a:cubicBezTo>
                  <a:cubicBezTo>
                    <a:pt x="13" y="15"/>
                    <a:pt x="12" y="17"/>
                    <a:pt x="12" y="20"/>
                  </a:cubicBezTo>
                  <a:cubicBezTo>
                    <a:pt x="12" y="23"/>
                    <a:pt x="13" y="27"/>
                    <a:pt x="19" y="29"/>
                  </a:cubicBezTo>
                  <a:cubicBezTo>
                    <a:pt x="28" y="32"/>
                    <a:pt x="37" y="34"/>
                    <a:pt x="37" y="34"/>
                  </a:cubicBezTo>
                  <a:cubicBezTo>
                    <a:pt x="38" y="34"/>
                    <a:pt x="51" y="39"/>
                    <a:pt x="53" y="54"/>
                  </a:cubicBezTo>
                  <a:cubicBezTo>
                    <a:pt x="54" y="65"/>
                    <a:pt x="46" y="72"/>
                    <a:pt x="41" y="74"/>
                  </a:cubicBezTo>
                  <a:cubicBezTo>
                    <a:pt x="38" y="76"/>
                    <a:pt x="32" y="78"/>
                    <a:pt x="26" y="7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7" name="Freeform 1514">
              <a:extLst>
                <a:ext uri="{FF2B5EF4-FFF2-40B4-BE49-F238E27FC236}">
                  <a16:creationId xmlns:a16="http://schemas.microsoft.com/office/drawing/2014/main" id="{79616823-18CE-4E75-742A-95C91E696DF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24024" y="2598121"/>
              <a:ext cx="11113" cy="26988"/>
            </a:xfrm>
            <a:custGeom>
              <a:avLst/>
              <a:gdLst>
                <a:gd name="T0" fmla="*/ 5 w 11"/>
                <a:gd name="T1" fmla="*/ 25 h 25"/>
                <a:gd name="T2" fmla="*/ 0 w 11"/>
                <a:gd name="T3" fmla="*/ 19 h 25"/>
                <a:gd name="T4" fmla="*/ 0 w 11"/>
                <a:gd name="T5" fmla="*/ 5 h 25"/>
                <a:gd name="T6" fmla="*/ 5 w 11"/>
                <a:gd name="T7" fmla="*/ 0 h 25"/>
                <a:gd name="T8" fmla="*/ 11 w 11"/>
                <a:gd name="T9" fmla="*/ 5 h 25"/>
                <a:gd name="T10" fmla="*/ 11 w 11"/>
                <a:gd name="T11" fmla="*/ 19 h 25"/>
                <a:gd name="T12" fmla="*/ 5 w 11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5">
                  <a:moveTo>
                    <a:pt x="5" y="25"/>
                  </a:moveTo>
                  <a:cubicBezTo>
                    <a:pt x="2" y="25"/>
                    <a:pt x="0" y="22"/>
                    <a:pt x="0" y="1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22"/>
                    <a:pt x="8" y="25"/>
                    <a:pt x="5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8" name="Freeform 1515">
              <a:extLst>
                <a:ext uri="{FF2B5EF4-FFF2-40B4-BE49-F238E27FC236}">
                  <a16:creationId xmlns:a16="http://schemas.microsoft.com/office/drawing/2014/main" id="{EE789774-BC72-67DB-D10F-43925ACB9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24024" y="2683846"/>
              <a:ext cx="11113" cy="25400"/>
            </a:xfrm>
            <a:custGeom>
              <a:avLst/>
              <a:gdLst>
                <a:gd name="T0" fmla="*/ 5 w 11"/>
                <a:gd name="T1" fmla="*/ 24 h 24"/>
                <a:gd name="T2" fmla="*/ 0 w 11"/>
                <a:gd name="T3" fmla="*/ 19 h 24"/>
                <a:gd name="T4" fmla="*/ 0 w 11"/>
                <a:gd name="T5" fmla="*/ 5 h 24"/>
                <a:gd name="T6" fmla="*/ 5 w 11"/>
                <a:gd name="T7" fmla="*/ 0 h 24"/>
                <a:gd name="T8" fmla="*/ 11 w 11"/>
                <a:gd name="T9" fmla="*/ 5 h 24"/>
                <a:gd name="T10" fmla="*/ 11 w 11"/>
                <a:gd name="T11" fmla="*/ 19 h 24"/>
                <a:gd name="T12" fmla="*/ 5 w 11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4">
                  <a:moveTo>
                    <a:pt x="5" y="24"/>
                  </a:moveTo>
                  <a:cubicBezTo>
                    <a:pt x="2" y="24"/>
                    <a:pt x="0" y="22"/>
                    <a:pt x="0" y="1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22"/>
                    <a:pt x="8" y="24"/>
                    <a:pt x="5" y="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9" name="Freeform 1516">
              <a:extLst>
                <a:ext uri="{FF2B5EF4-FFF2-40B4-BE49-F238E27FC236}">
                  <a16:creationId xmlns:a16="http://schemas.microsoft.com/office/drawing/2014/main" id="{C4A0565F-531F-5F75-309F-36C7E3A167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01812" y="2574311"/>
              <a:ext cx="165100" cy="163513"/>
            </a:xfrm>
            <a:custGeom>
              <a:avLst/>
              <a:gdLst>
                <a:gd name="T0" fmla="*/ 79 w 158"/>
                <a:gd name="T1" fmla="*/ 158 h 158"/>
                <a:gd name="T2" fmla="*/ 0 w 158"/>
                <a:gd name="T3" fmla="*/ 79 h 158"/>
                <a:gd name="T4" fmla="*/ 79 w 158"/>
                <a:gd name="T5" fmla="*/ 0 h 158"/>
                <a:gd name="T6" fmla="*/ 158 w 158"/>
                <a:gd name="T7" fmla="*/ 79 h 158"/>
                <a:gd name="T8" fmla="*/ 79 w 158"/>
                <a:gd name="T9" fmla="*/ 158 h 158"/>
                <a:gd name="T10" fmla="*/ 79 w 158"/>
                <a:gd name="T11" fmla="*/ 11 h 158"/>
                <a:gd name="T12" fmla="*/ 11 w 158"/>
                <a:gd name="T13" fmla="*/ 79 h 158"/>
                <a:gd name="T14" fmla="*/ 79 w 158"/>
                <a:gd name="T15" fmla="*/ 147 h 158"/>
                <a:gd name="T16" fmla="*/ 147 w 158"/>
                <a:gd name="T17" fmla="*/ 79 h 158"/>
                <a:gd name="T18" fmla="*/ 79 w 158"/>
                <a:gd name="T19" fmla="*/ 11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8">
                  <a:moveTo>
                    <a:pt x="79" y="158"/>
                  </a:moveTo>
                  <a:cubicBezTo>
                    <a:pt x="35" y="158"/>
                    <a:pt x="0" y="122"/>
                    <a:pt x="0" y="79"/>
                  </a:cubicBezTo>
                  <a:cubicBezTo>
                    <a:pt x="0" y="35"/>
                    <a:pt x="35" y="0"/>
                    <a:pt x="79" y="0"/>
                  </a:cubicBezTo>
                  <a:cubicBezTo>
                    <a:pt x="122" y="0"/>
                    <a:pt x="158" y="35"/>
                    <a:pt x="158" y="79"/>
                  </a:cubicBezTo>
                  <a:cubicBezTo>
                    <a:pt x="158" y="122"/>
                    <a:pt x="122" y="158"/>
                    <a:pt x="79" y="158"/>
                  </a:cubicBezTo>
                  <a:close/>
                  <a:moveTo>
                    <a:pt x="79" y="11"/>
                  </a:moveTo>
                  <a:cubicBezTo>
                    <a:pt x="41" y="11"/>
                    <a:pt x="11" y="42"/>
                    <a:pt x="11" y="79"/>
                  </a:cubicBezTo>
                  <a:cubicBezTo>
                    <a:pt x="11" y="116"/>
                    <a:pt x="41" y="147"/>
                    <a:pt x="79" y="147"/>
                  </a:cubicBezTo>
                  <a:cubicBezTo>
                    <a:pt x="116" y="147"/>
                    <a:pt x="147" y="116"/>
                    <a:pt x="147" y="79"/>
                  </a:cubicBezTo>
                  <a:cubicBezTo>
                    <a:pt x="147" y="42"/>
                    <a:pt x="116" y="11"/>
                    <a:pt x="7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0" name="Freeform 1517">
              <a:extLst>
                <a:ext uri="{FF2B5EF4-FFF2-40B4-BE49-F238E27FC236}">
                  <a16:creationId xmlns:a16="http://schemas.microsoft.com/office/drawing/2014/main" id="{FD1B52AA-1A6A-8EE3-7758-71E767F3C7F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09762" y="2679082"/>
              <a:ext cx="44450" cy="50800"/>
            </a:xfrm>
            <a:custGeom>
              <a:avLst/>
              <a:gdLst>
                <a:gd name="T0" fmla="*/ 30 w 42"/>
                <a:gd name="T1" fmla="*/ 48 h 48"/>
                <a:gd name="T2" fmla="*/ 29 w 42"/>
                <a:gd name="T3" fmla="*/ 48 h 48"/>
                <a:gd name="T4" fmla="*/ 24 w 42"/>
                <a:gd name="T5" fmla="*/ 41 h 48"/>
                <a:gd name="T6" fmla="*/ 30 w 42"/>
                <a:gd name="T7" fmla="*/ 16 h 48"/>
                <a:gd name="T8" fmla="*/ 5 w 42"/>
                <a:gd name="T9" fmla="*/ 11 h 48"/>
                <a:gd name="T10" fmla="*/ 1 w 42"/>
                <a:gd name="T11" fmla="*/ 5 h 48"/>
                <a:gd name="T12" fmla="*/ 7 w 42"/>
                <a:gd name="T13" fmla="*/ 1 h 48"/>
                <a:gd name="T14" fmla="*/ 37 w 42"/>
                <a:gd name="T15" fmla="*/ 7 h 48"/>
                <a:gd name="T16" fmla="*/ 41 w 42"/>
                <a:gd name="T17" fmla="*/ 13 h 48"/>
                <a:gd name="T18" fmla="*/ 35 w 42"/>
                <a:gd name="T19" fmla="*/ 43 h 48"/>
                <a:gd name="T20" fmla="*/ 30 w 42"/>
                <a:gd name="T2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48">
                  <a:moveTo>
                    <a:pt x="30" y="48"/>
                  </a:moveTo>
                  <a:cubicBezTo>
                    <a:pt x="29" y="48"/>
                    <a:pt x="29" y="48"/>
                    <a:pt x="29" y="48"/>
                  </a:cubicBezTo>
                  <a:cubicBezTo>
                    <a:pt x="26" y="47"/>
                    <a:pt x="24" y="44"/>
                    <a:pt x="24" y="4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1" y="5"/>
                  </a:cubicBezTo>
                  <a:cubicBezTo>
                    <a:pt x="1" y="2"/>
                    <a:pt x="4" y="0"/>
                    <a:pt x="7" y="1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40" y="7"/>
                    <a:pt x="42" y="10"/>
                    <a:pt x="41" y="13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5" y="46"/>
                    <a:pt x="32" y="48"/>
                    <a:pt x="30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1" name="Freeform 1518">
              <a:extLst>
                <a:ext uri="{FF2B5EF4-FFF2-40B4-BE49-F238E27FC236}">
                  <a16:creationId xmlns:a16="http://schemas.microsoft.com/office/drawing/2014/main" id="{8DC2F00A-B02E-CE7B-4278-0EB75DF61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8187" y="2685430"/>
              <a:ext cx="142875" cy="98425"/>
            </a:xfrm>
            <a:custGeom>
              <a:avLst/>
              <a:gdLst>
                <a:gd name="T0" fmla="*/ 6 w 138"/>
                <a:gd name="T1" fmla="*/ 94 h 94"/>
                <a:gd name="T2" fmla="*/ 2 w 138"/>
                <a:gd name="T3" fmla="*/ 92 h 94"/>
                <a:gd name="T4" fmla="*/ 3 w 138"/>
                <a:gd name="T5" fmla="*/ 84 h 94"/>
                <a:gd name="T6" fmla="*/ 129 w 138"/>
                <a:gd name="T7" fmla="*/ 2 h 94"/>
                <a:gd name="T8" fmla="*/ 137 w 138"/>
                <a:gd name="T9" fmla="*/ 3 h 94"/>
                <a:gd name="T10" fmla="*/ 135 w 138"/>
                <a:gd name="T11" fmla="*/ 11 h 94"/>
                <a:gd name="T12" fmla="*/ 9 w 138"/>
                <a:gd name="T13" fmla="*/ 93 h 94"/>
                <a:gd name="T14" fmla="*/ 6 w 138"/>
                <a:gd name="T15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" h="94">
                  <a:moveTo>
                    <a:pt x="6" y="94"/>
                  </a:moveTo>
                  <a:cubicBezTo>
                    <a:pt x="5" y="94"/>
                    <a:pt x="3" y="93"/>
                    <a:pt x="2" y="92"/>
                  </a:cubicBezTo>
                  <a:cubicBezTo>
                    <a:pt x="0" y="89"/>
                    <a:pt x="1" y="86"/>
                    <a:pt x="3" y="84"/>
                  </a:cubicBezTo>
                  <a:cubicBezTo>
                    <a:pt x="129" y="2"/>
                    <a:pt x="129" y="2"/>
                    <a:pt x="129" y="2"/>
                  </a:cubicBezTo>
                  <a:cubicBezTo>
                    <a:pt x="132" y="0"/>
                    <a:pt x="135" y="1"/>
                    <a:pt x="137" y="3"/>
                  </a:cubicBezTo>
                  <a:cubicBezTo>
                    <a:pt x="138" y="6"/>
                    <a:pt x="138" y="9"/>
                    <a:pt x="135" y="11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8" y="94"/>
                    <a:pt x="7" y="94"/>
                    <a:pt x="6" y="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2" name="Freeform 1519">
              <a:extLst>
                <a:ext uri="{FF2B5EF4-FFF2-40B4-BE49-F238E27FC236}">
                  <a16:creationId xmlns:a16="http://schemas.microsoft.com/office/drawing/2014/main" id="{7F0014E2-99C9-334A-347F-AEAE293C2F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09772" y="2802905"/>
              <a:ext cx="63500" cy="63500"/>
            </a:xfrm>
            <a:custGeom>
              <a:avLst/>
              <a:gdLst>
                <a:gd name="T0" fmla="*/ 55 w 61"/>
                <a:gd name="T1" fmla="*/ 60 h 60"/>
                <a:gd name="T2" fmla="*/ 6 w 61"/>
                <a:gd name="T3" fmla="*/ 60 h 60"/>
                <a:gd name="T4" fmla="*/ 0 w 61"/>
                <a:gd name="T5" fmla="*/ 55 h 60"/>
                <a:gd name="T6" fmla="*/ 0 w 61"/>
                <a:gd name="T7" fmla="*/ 5 h 60"/>
                <a:gd name="T8" fmla="*/ 6 w 61"/>
                <a:gd name="T9" fmla="*/ 0 h 60"/>
                <a:gd name="T10" fmla="*/ 55 w 61"/>
                <a:gd name="T11" fmla="*/ 0 h 60"/>
                <a:gd name="T12" fmla="*/ 61 w 61"/>
                <a:gd name="T13" fmla="*/ 5 h 60"/>
                <a:gd name="T14" fmla="*/ 61 w 61"/>
                <a:gd name="T15" fmla="*/ 55 h 60"/>
                <a:gd name="T16" fmla="*/ 55 w 61"/>
                <a:gd name="T17" fmla="*/ 60 h 60"/>
                <a:gd name="T18" fmla="*/ 11 w 61"/>
                <a:gd name="T19" fmla="*/ 49 h 60"/>
                <a:gd name="T20" fmla="*/ 50 w 61"/>
                <a:gd name="T21" fmla="*/ 49 h 60"/>
                <a:gd name="T22" fmla="*/ 50 w 61"/>
                <a:gd name="T23" fmla="*/ 11 h 60"/>
                <a:gd name="T24" fmla="*/ 11 w 61"/>
                <a:gd name="T25" fmla="*/ 11 h 60"/>
                <a:gd name="T26" fmla="*/ 11 w 61"/>
                <a:gd name="T27" fmla="*/ 4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60">
                  <a:moveTo>
                    <a:pt x="55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8"/>
                    <a:pt x="0" y="5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8" y="0"/>
                    <a:pt x="61" y="2"/>
                    <a:pt x="61" y="5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61" y="58"/>
                    <a:pt x="58" y="60"/>
                    <a:pt x="55" y="60"/>
                  </a:cubicBezTo>
                  <a:close/>
                  <a:moveTo>
                    <a:pt x="1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3" name="Freeform 1520">
              <a:extLst>
                <a:ext uri="{FF2B5EF4-FFF2-40B4-BE49-F238E27FC236}">
                  <a16:creationId xmlns:a16="http://schemas.microsoft.com/office/drawing/2014/main" id="{875CB86A-CE2A-76E4-D4EB-47FE268084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31980" y="2763218"/>
              <a:ext cx="61913" cy="103188"/>
            </a:xfrm>
            <a:custGeom>
              <a:avLst/>
              <a:gdLst>
                <a:gd name="T0" fmla="*/ 55 w 60"/>
                <a:gd name="T1" fmla="*/ 98 h 98"/>
                <a:gd name="T2" fmla="*/ 6 w 60"/>
                <a:gd name="T3" fmla="*/ 98 h 98"/>
                <a:gd name="T4" fmla="*/ 0 w 60"/>
                <a:gd name="T5" fmla="*/ 93 h 98"/>
                <a:gd name="T6" fmla="*/ 0 w 60"/>
                <a:gd name="T7" fmla="*/ 6 h 98"/>
                <a:gd name="T8" fmla="*/ 6 w 60"/>
                <a:gd name="T9" fmla="*/ 0 h 98"/>
                <a:gd name="T10" fmla="*/ 55 w 60"/>
                <a:gd name="T11" fmla="*/ 0 h 98"/>
                <a:gd name="T12" fmla="*/ 60 w 60"/>
                <a:gd name="T13" fmla="*/ 6 h 98"/>
                <a:gd name="T14" fmla="*/ 60 w 60"/>
                <a:gd name="T15" fmla="*/ 93 h 98"/>
                <a:gd name="T16" fmla="*/ 55 w 60"/>
                <a:gd name="T17" fmla="*/ 98 h 98"/>
                <a:gd name="T18" fmla="*/ 11 w 60"/>
                <a:gd name="T19" fmla="*/ 87 h 98"/>
                <a:gd name="T20" fmla="*/ 49 w 60"/>
                <a:gd name="T21" fmla="*/ 87 h 98"/>
                <a:gd name="T22" fmla="*/ 49 w 60"/>
                <a:gd name="T23" fmla="*/ 11 h 98"/>
                <a:gd name="T24" fmla="*/ 11 w 60"/>
                <a:gd name="T25" fmla="*/ 11 h 98"/>
                <a:gd name="T26" fmla="*/ 11 w 60"/>
                <a:gd name="T27" fmla="*/ 8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98">
                  <a:moveTo>
                    <a:pt x="55" y="98"/>
                  </a:moveTo>
                  <a:cubicBezTo>
                    <a:pt x="6" y="98"/>
                    <a:pt x="6" y="98"/>
                    <a:pt x="6" y="98"/>
                  </a:cubicBezTo>
                  <a:cubicBezTo>
                    <a:pt x="3" y="98"/>
                    <a:pt x="0" y="96"/>
                    <a:pt x="0" y="9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6"/>
                    <a:pt x="58" y="98"/>
                    <a:pt x="55" y="98"/>
                  </a:cubicBezTo>
                  <a:close/>
                  <a:moveTo>
                    <a:pt x="11" y="87"/>
                  </a:moveTo>
                  <a:cubicBezTo>
                    <a:pt x="49" y="87"/>
                    <a:pt x="49" y="87"/>
                    <a:pt x="49" y="87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8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4" name="Freeform 1521">
              <a:extLst>
                <a:ext uri="{FF2B5EF4-FFF2-40B4-BE49-F238E27FC236}">
                  <a16:creationId xmlns:a16="http://schemas.microsoft.com/office/drawing/2014/main" id="{1D2596E8-6478-A988-DA1A-A91DEF73F2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54200" y="2721943"/>
              <a:ext cx="61913" cy="144463"/>
            </a:xfrm>
            <a:custGeom>
              <a:avLst/>
              <a:gdLst>
                <a:gd name="T0" fmla="*/ 55 w 60"/>
                <a:gd name="T1" fmla="*/ 138 h 138"/>
                <a:gd name="T2" fmla="*/ 5 w 60"/>
                <a:gd name="T3" fmla="*/ 138 h 138"/>
                <a:gd name="T4" fmla="*/ 0 w 60"/>
                <a:gd name="T5" fmla="*/ 133 h 138"/>
                <a:gd name="T6" fmla="*/ 0 w 60"/>
                <a:gd name="T7" fmla="*/ 5 h 138"/>
                <a:gd name="T8" fmla="*/ 5 w 60"/>
                <a:gd name="T9" fmla="*/ 0 h 138"/>
                <a:gd name="T10" fmla="*/ 55 w 60"/>
                <a:gd name="T11" fmla="*/ 0 h 138"/>
                <a:gd name="T12" fmla="*/ 60 w 60"/>
                <a:gd name="T13" fmla="*/ 5 h 138"/>
                <a:gd name="T14" fmla="*/ 60 w 60"/>
                <a:gd name="T15" fmla="*/ 133 h 138"/>
                <a:gd name="T16" fmla="*/ 55 w 60"/>
                <a:gd name="T17" fmla="*/ 138 h 138"/>
                <a:gd name="T18" fmla="*/ 11 w 60"/>
                <a:gd name="T19" fmla="*/ 127 h 138"/>
                <a:gd name="T20" fmla="*/ 49 w 60"/>
                <a:gd name="T21" fmla="*/ 127 h 138"/>
                <a:gd name="T22" fmla="*/ 49 w 60"/>
                <a:gd name="T23" fmla="*/ 11 h 138"/>
                <a:gd name="T24" fmla="*/ 11 w 60"/>
                <a:gd name="T25" fmla="*/ 11 h 138"/>
                <a:gd name="T26" fmla="*/ 11 w 60"/>
                <a:gd name="T27" fmla="*/ 12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38">
                  <a:moveTo>
                    <a:pt x="55" y="138"/>
                  </a:moveTo>
                  <a:cubicBezTo>
                    <a:pt x="5" y="138"/>
                    <a:pt x="5" y="138"/>
                    <a:pt x="5" y="138"/>
                  </a:cubicBezTo>
                  <a:cubicBezTo>
                    <a:pt x="2" y="138"/>
                    <a:pt x="0" y="136"/>
                    <a:pt x="0" y="13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8" y="0"/>
                    <a:pt x="60" y="2"/>
                    <a:pt x="60" y="5"/>
                  </a:cubicBezTo>
                  <a:cubicBezTo>
                    <a:pt x="60" y="133"/>
                    <a:pt x="60" y="133"/>
                    <a:pt x="60" y="133"/>
                  </a:cubicBezTo>
                  <a:cubicBezTo>
                    <a:pt x="60" y="136"/>
                    <a:pt x="58" y="138"/>
                    <a:pt x="55" y="138"/>
                  </a:cubicBezTo>
                  <a:close/>
                  <a:moveTo>
                    <a:pt x="11" y="127"/>
                  </a:moveTo>
                  <a:cubicBezTo>
                    <a:pt x="49" y="127"/>
                    <a:pt x="49" y="127"/>
                    <a:pt x="49" y="127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1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25" name="Shape62_20200717_142846">
            <a:extLst>
              <a:ext uri="{FF2B5EF4-FFF2-40B4-BE49-F238E27FC236}">
                <a16:creationId xmlns:a16="http://schemas.microsoft.com/office/drawing/2014/main" id="{F71F5752-4C99-FD0F-6DBE-F0A440840A85}"/>
              </a:ext>
            </a:extLst>
          </p:cNvPr>
          <p:cNvGrpSpPr>
            <a:grpSpLocks noChangeAspect="1"/>
          </p:cNvGrpSpPr>
          <p:nvPr/>
        </p:nvGrpSpPr>
        <p:grpSpPr>
          <a:xfrm>
            <a:off x="8439642" y="5171548"/>
            <a:ext cx="534944" cy="537340"/>
            <a:chOff x="-579430" y="2897198"/>
            <a:chExt cx="354009" cy="355601"/>
          </a:xfrm>
          <a:solidFill>
            <a:schemeClr val="accent1"/>
          </a:solidFill>
        </p:grpSpPr>
        <p:sp>
          <p:nvSpPr>
            <p:cNvPr id="326" name="Freeform 423">
              <a:extLst>
                <a:ext uri="{FF2B5EF4-FFF2-40B4-BE49-F238E27FC236}">
                  <a16:creationId xmlns:a16="http://schemas.microsoft.com/office/drawing/2014/main" id="{2291E20C-4B5A-5B90-78AC-3E44E9A247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9430" y="2897198"/>
              <a:ext cx="354009" cy="355601"/>
            </a:xfrm>
            <a:custGeom>
              <a:avLst/>
              <a:gdLst>
                <a:gd name="T0" fmla="*/ 74 w 157"/>
                <a:gd name="T1" fmla="*/ 157 h 157"/>
                <a:gd name="T2" fmla="*/ 62 w 157"/>
                <a:gd name="T3" fmla="*/ 137 h 157"/>
                <a:gd name="T4" fmla="*/ 42 w 157"/>
                <a:gd name="T5" fmla="*/ 137 h 157"/>
                <a:gd name="T6" fmla="*/ 20 w 157"/>
                <a:gd name="T7" fmla="*/ 131 h 157"/>
                <a:gd name="T8" fmla="*/ 25 w 157"/>
                <a:gd name="T9" fmla="*/ 109 h 157"/>
                <a:gd name="T10" fmla="*/ 11 w 157"/>
                <a:gd name="T11" fmla="*/ 94 h 157"/>
                <a:gd name="T12" fmla="*/ 0 w 157"/>
                <a:gd name="T13" fmla="*/ 74 h 157"/>
                <a:gd name="T14" fmla="*/ 19 w 157"/>
                <a:gd name="T15" fmla="*/ 62 h 157"/>
                <a:gd name="T16" fmla="*/ 20 w 157"/>
                <a:gd name="T17" fmla="*/ 43 h 157"/>
                <a:gd name="T18" fmla="*/ 26 w 157"/>
                <a:gd name="T19" fmla="*/ 20 h 157"/>
                <a:gd name="T20" fmla="*/ 48 w 157"/>
                <a:gd name="T21" fmla="*/ 25 h 157"/>
                <a:gd name="T22" fmla="*/ 62 w 157"/>
                <a:gd name="T23" fmla="*/ 12 h 157"/>
                <a:gd name="T24" fmla="*/ 83 w 157"/>
                <a:gd name="T25" fmla="*/ 0 h 157"/>
                <a:gd name="T26" fmla="*/ 94 w 157"/>
                <a:gd name="T27" fmla="*/ 19 h 157"/>
                <a:gd name="T28" fmla="*/ 114 w 157"/>
                <a:gd name="T29" fmla="*/ 20 h 157"/>
                <a:gd name="T30" fmla="*/ 130 w 157"/>
                <a:gd name="T31" fmla="*/ 20 h 157"/>
                <a:gd name="T32" fmla="*/ 137 w 157"/>
                <a:gd name="T33" fmla="*/ 43 h 157"/>
                <a:gd name="T34" fmla="*/ 137 w 157"/>
                <a:gd name="T35" fmla="*/ 62 h 157"/>
                <a:gd name="T36" fmla="*/ 157 w 157"/>
                <a:gd name="T37" fmla="*/ 74 h 157"/>
                <a:gd name="T38" fmla="*/ 145 w 157"/>
                <a:gd name="T39" fmla="*/ 94 h 157"/>
                <a:gd name="T40" fmla="*/ 131 w 157"/>
                <a:gd name="T41" fmla="*/ 109 h 157"/>
                <a:gd name="T42" fmla="*/ 137 w 157"/>
                <a:gd name="T43" fmla="*/ 131 h 157"/>
                <a:gd name="T44" fmla="*/ 122 w 157"/>
                <a:gd name="T45" fmla="*/ 140 h 157"/>
                <a:gd name="T46" fmla="*/ 109 w 157"/>
                <a:gd name="T47" fmla="*/ 132 h 157"/>
                <a:gd name="T48" fmla="*/ 94 w 157"/>
                <a:gd name="T49" fmla="*/ 145 h 157"/>
                <a:gd name="T50" fmla="*/ 49 w 157"/>
                <a:gd name="T51" fmla="*/ 126 h 157"/>
                <a:gd name="T52" fmla="*/ 67 w 157"/>
                <a:gd name="T53" fmla="*/ 136 h 157"/>
                <a:gd name="T54" fmla="*/ 74 w 157"/>
                <a:gd name="T55" fmla="*/ 152 h 157"/>
                <a:gd name="T56" fmla="*/ 89 w 157"/>
                <a:gd name="T57" fmla="*/ 145 h 157"/>
                <a:gd name="T58" fmla="*/ 91 w 157"/>
                <a:gd name="T59" fmla="*/ 133 h 157"/>
                <a:gd name="T60" fmla="*/ 111 w 157"/>
                <a:gd name="T61" fmla="*/ 127 h 157"/>
                <a:gd name="T62" fmla="*/ 122 w 157"/>
                <a:gd name="T63" fmla="*/ 135 h 157"/>
                <a:gd name="T64" fmla="*/ 133 w 157"/>
                <a:gd name="T65" fmla="*/ 127 h 157"/>
                <a:gd name="T66" fmla="*/ 127 w 157"/>
                <a:gd name="T67" fmla="*/ 111 h 157"/>
                <a:gd name="T68" fmla="*/ 126 w 157"/>
                <a:gd name="T69" fmla="*/ 108 h 157"/>
                <a:gd name="T70" fmla="*/ 135 w 157"/>
                <a:gd name="T71" fmla="*/ 90 h 157"/>
                <a:gd name="T72" fmla="*/ 152 w 157"/>
                <a:gd name="T73" fmla="*/ 83 h 157"/>
                <a:gd name="T74" fmla="*/ 145 w 157"/>
                <a:gd name="T75" fmla="*/ 67 h 157"/>
                <a:gd name="T76" fmla="*/ 133 w 157"/>
                <a:gd name="T77" fmla="*/ 65 h 157"/>
                <a:gd name="T78" fmla="*/ 127 w 157"/>
                <a:gd name="T79" fmla="*/ 46 h 157"/>
                <a:gd name="T80" fmla="*/ 133 w 157"/>
                <a:gd name="T81" fmla="*/ 30 h 157"/>
                <a:gd name="T82" fmla="*/ 122 w 157"/>
                <a:gd name="T83" fmla="*/ 21 h 157"/>
                <a:gd name="T84" fmla="*/ 111 w 157"/>
                <a:gd name="T85" fmla="*/ 30 h 157"/>
                <a:gd name="T86" fmla="*/ 91 w 157"/>
                <a:gd name="T87" fmla="*/ 24 h 157"/>
                <a:gd name="T88" fmla="*/ 89 w 157"/>
                <a:gd name="T89" fmla="*/ 12 h 157"/>
                <a:gd name="T90" fmla="*/ 74 w 157"/>
                <a:gd name="T91" fmla="*/ 5 h 157"/>
                <a:gd name="T92" fmla="*/ 67 w 157"/>
                <a:gd name="T93" fmla="*/ 21 h 157"/>
                <a:gd name="T94" fmla="*/ 49 w 157"/>
                <a:gd name="T95" fmla="*/ 30 h 157"/>
                <a:gd name="T96" fmla="*/ 39 w 157"/>
                <a:gd name="T97" fmla="*/ 23 h 157"/>
                <a:gd name="T98" fmla="*/ 23 w 157"/>
                <a:gd name="T99" fmla="*/ 30 h 157"/>
                <a:gd name="T100" fmla="*/ 30 w 157"/>
                <a:gd name="T101" fmla="*/ 46 h 157"/>
                <a:gd name="T102" fmla="*/ 23 w 157"/>
                <a:gd name="T103" fmla="*/ 65 h 157"/>
                <a:gd name="T104" fmla="*/ 11 w 157"/>
                <a:gd name="T105" fmla="*/ 67 h 157"/>
                <a:gd name="T106" fmla="*/ 5 w 157"/>
                <a:gd name="T107" fmla="*/ 83 h 157"/>
                <a:gd name="T108" fmla="*/ 21 w 157"/>
                <a:gd name="T109" fmla="*/ 90 h 157"/>
                <a:gd name="T110" fmla="*/ 30 w 157"/>
                <a:gd name="T111" fmla="*/ 108 h 157"/>
                <a:gd name="T112" fmla="*/ 23 w 157"/>
                <a:gd name="T113" fmla="*/ 118 h 157"/>
                <a:gd name="T114" fmla="*/ 29 w 157"/>
                <a:gd name="T115" fmla="*/ 134 h 157"/>
                <a:gd name="T116" fmla="*/ 46 w 157"/>
                <a:gd name="T117" fmla="*/ 127 h 157"/>
                <a:gd name="T118" fmla="*/ 49 w 157"/>
                <a:gd name="T119" fmla="*/ 126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7" h="157">
                  <a:moveTo>
                    <a:pt x="83" y="157"/>
                  </a:moveTo>
                  <a:cubicBezTo>
                    <a:pt x="74" y="157"/>
                    <a:pt x="74" y="157"/>
                    <a:pt x="74" y="157"/>
                  </a:cubicBezTo>
                  <a:cubicBezTo>
                    <a:pt x="67" y="157"/>
                    <a:pt x="62" y="152"/>
                    <a:pt x="62" y="145"/>
                  </a:cubicBezTo>
                  <a:cubicBezTo>
                    <a:pt x="62" y="137"/>
                    <a:pt x="62" y="137"/>
                    <a:pt x="62" y="137"/>
                  </a:cubicBezTo>
                  <a:cubicBezTo>
                    <a:pt x="57" y="136"/>
                    <a:pt x="52" y="134"/>
                    <a:pt x="48" y="132"/>
                  </a:cubicBezTo>
                  <a:cubicBezTo>
                    <a:pt x="42" y="137"/>
                    <a:pt x="42" y="137"/>
                    <a:pt x="42" y="137"/>
                  </a:cubicBezTo>
                  <a:cubicBezTo>
                    <a:pt x="38" y="142"/>
                    <a:pt x="30" y="142"/>
                    <a:pt x="26" y="137"/>
                  </a:cubicBezTo>
                  <a:cubicBezTo>
                    <a:pt x="20" y="131"/>
                    <a:pt x="20" y="131"/>
                    <a:pt x="20" y="131"/>
                  </a:cubicBezTo>
                  <a:cubicBezTo>
                    <a:pt x="15" y="126"/>
                    <a:pt x="15" y="119"/>
                    <a:pt x="20" y="114"/>
                  </a:cubicBezTo>
                  <a:cubicBezTo>
                    <a:pt x="25" y="109"/>
                    <a:pt x="25" y="109"/>
                    <a:pt x="25" y="109"/>
                  </a:cubicBezTo>
                  <a:cubicBezTo>
                    <a:pt x="23" y="104"/>
                    <a:pt x="21" y="99"/>
                    <a:pt x="19" y="94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5" y="94"/>
                    <a:pt x="0" y="89"/>
                    <a:pt x="0" y="83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68"/>
                    <a:pt x="5" y="62"/>
                    <a:pt x="11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1" y="57"/>
                    <a:pt x="23" y="53"/>
                    <a:pt x="25" y="48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15" y="38"/>
                    <a:pt x="15" y="31"/>
                    <a:pt x="20" y="26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30" y="15"/>
                    <a:pt x="38" y="15"/>
                    <a:pt x="42" y="20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52" y="23"/>
                    <a:pt x="57" y="21"/>
                    <a:pt x="62" y="19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5"/>
                    <a:pt x="67" y="0"/>
                    <a:pt x="74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9" y="0"/>
                    <a:pt x="94" y="5"/>
                    <a:pt x="94" y="12"/>
                  </a:cubicBezTo>
                  <a:cubicBezTo>
                    <a:pt x="94" y="19"/>
                    <a:pt x="94" y="19"/>
                    <a:pt x="94" y="19"/>
                  </a:cubicBezTo>
                  <a:cubicBezTo>
                    <a:pt x="99" y="21"/>
                    <a:pt x="104" y="23"/>
                    <a:pt x="109" y="25"/>
                  </a:cubicBezTo>
                  <a:cubicBezTo>
                    <a:pt x="114" y="20"/>
                    <a:pt x="114" y="20"/>
                    <a:pt x="114" y="20"/>
                  </a:cubicBezTo>
                  <a:cubicBezTo>
                    <a:pt x="116" y="18"/>
                    <a:pt x="119" y="16"/>
                    <a:pt x="122" y="16"/>
                  </a:cubicBezTo>
                  <a:cubicBezTo>
                    <a:pt x="125" y="16"/>
                    <a:pt x="128" y="18"/>
                    <a:pt x="130" y="20"/>
                  </a:cubicBezTo>
                  <a:cubicBezTo>
                    <a:pt x="137" y="26"/>
                    <a:pt x="137" y="26"/>
                    <a:pt x="137" y="26"/>
                  </a:cubicBezTo>
                  <a:cubicBezTo>
                    <a:pt x="141" y="31"/>
                    <a:pt x="141" y="38"/>
                    <a:pt x="137" y="43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34" y="53"/>
                    <a:pt x="136" y="57"/>
                    <a:pt x="137" y="62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51" y="62"/>
                    <a:pt x="157" y="68"/>
                    <a:pt x="157" y="74"/>
                  </a:cubicBezTo>
                  <a:cubicBezTo>
                    <a:pt x="157" y="83"/>
                    <a:pt x="157" y="83"/>
                    <a:pt x="157" y="83"/>
                  </a:cubicBezTo>
                  <a:cubicBezTo>
                    <a:pt x="157" y="89"/>
                    <a:pt x="151" y="94"/>
                    <a:pt x="145" y="94"/>
                  </a:cubicBezTo>
                  <a:cubicBezTo>
                    <a:pt x="137" y="94"/>
                    <a:pt x="137" y="94"/>
                    <a:pt x="137" y="94"/>
                  </a:cubicBezTo>
                  <a:cubicBezTo>
                    <a:pt x="136" y="99"/>
                    <a:pt x="134" y="104"/>
                    <a:pt x="131" y="109"/>
                  </a:cubicBezTo>
                  <a:cubicBezTo>
                    <a:pt x="137" y="114"/>
                    <a:pt x="137" y="114"/>
                    <a:pt x="137" y="114"/>
                  </a:cubicBezTo>
                  <a:cubicBezTo>
                    <a:pt x="141" y="119"/>
                    <a:pt x="141" y="126"/>
                    <a:pt x="137" y="131"/>
                  </a:cubicBezTo>
                  <a:cubicBezTo>
                    <a:pt x="130" y="137"/>
                    <a:pt x="130" y="137"/>
                    <a:pt x="130" y="137"/>
                  </a:cubicBezTo>
                  <a:cubicBezTo>
                    <a:pt x="128" y="139"/>
                    <a:pt x="125" y="140"/>
                    <a:pt x="122" y="140"/>
                  </a:cubicBezTo>
                  <a:cubicBezTo>
                    <a:pt x="119" y="140"/>
                    <a:pt x="116" y="139"/>
                    <a:pt x="114" y="137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104" y="134"/>
                    <a:pt x="99" y="136"/>
                    <a:pt x="94" y="137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94" y="152"/>
                    <a:pt x="89" y="157"/>
                    <a:pt x="83" y="157"/>
                  </a:cubicBezTo>
                  <a:close/>
                  <a:moveTo>
                    <a:pt x="49" y="126"/>
                  </a:moveTo>
                  <a:cubicBezTo>
                    <a:pt x="54" y="129"/>
                    <a:pt x="59" y="132"/>
                    <a:pt x="65" y="133"/>
                  </a:cubicBezTo>
                  <a:cubicBezTo>
                    <a:pt x="66" y="133"/>
                    <a:pt x="67" y="134"/>
                    <a:pt x="67" y="136"/>
                  </a:cubicBezTo>
                  <a:cubicBezTo>
                    <a:pt x="67" y="145"/>
                    <a:pt x="67" y="145"/>
                    <a:pt x="67" y="145"/>
                  </a:cubicBezTo>
                  <a:cubicBezTo>
                    <a:pt x="67" y="149"/>
                    <a:pt x="70" y="152"/>
                    <a:pt x="74" y="152"/>
                  </a:cubicBezTo>
                  <a:cubicBezTo>
                    <a:pt x="83" y="152"/>
                    <a:pt x="83" y="152"/>
                    <a:pt x="83" y="152"/>
                  </a:cubicBezTo>
                  <a:cubicBezTo>
                    <a:pt x="86" y="152"/>
                    <a:pt x="89" y="149"/>
                    <a:pt x="89" y="145"/>
                  </a:cubicBezTo>
                  <a:cubicBezTo>
                    <a:pt x="89" y="136"/>
                    <a:pt x="89" y="136"/>
                    <a:pt x="89" y="136"/>
                  </a:cubicBezTo>
                  <a:cubicBezTo>
                    <a:pt x="89" y="134"/>
                    <a:pt x="90" y="133"/>
                    <a:pt x="91" y="133"/>
                  </a:cubicBezTo>
                  <a:cubicBezTo>
                    <a:pt x="97" y="132"/>
                    <a:pt x="103" y="129"/>
                    <a:pt x="108" y="126"/>
                  </a:cubicBezTo>
                  <a:cubicBezTo>
                    <a:pt x="109" y="126"/>
                    <a:pt x="110" y="126"/>
                    <a:pt x="111" y="127"/>
                  </a:cubicBezTo>
                  <a:cubicBezTo>
                    <a:pt x="118" y="134"/>
                    <a:pt x="118" y="134"/>
                    <a:pt x="118" y="134"/>
                  </a:cubicBezTo>
                  <a:cubicBezTo>
                    <a:pt x="119" y="135"/>
                    <a:pt x="121" y="135"/>
                    <a:pt x="122" y="135"/>
                  </a:cubicBezTo>
                  <a:cubicBezTo>
                    <a:pt x="124" y="135"/>
                    <a:pt x="126" y="135"/>
                    <a:pt x="127" y="134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6" y="125"/>
                    <a:pt x="136" y="120"/>
                    <a:pt x="133" y="118"/>
                  </a:cubicBezTo>
                  <a:cubicBezTo>
                    <a:pt x="127" y="111"/>
                    <a:pt x="127" y="111"/>
                    <a:pt x="127" y="111"/>
                  </a:cubicBezTo>
                  <a:cubicBezTo>
                    <a:pt x="126" y="110"/>
                    <a:pt x="126" y="109"/>
                    <a:pt x="126" y="108"/>
                  </a:cubicBezTo>
                  <a:cubicBezTo>
                    <a:pt x="126" y="108"/>
                    <a:pt x="126" y="108"/>
                    <a:pt x="126" y="108"/>
                  </a:cubicBezTo>
                  <a:cubicBezTo>
                    <a:pt x="129" y="103"/>
                    <a:pt x="132" y="97"/>
                    <a:pt x="133" y="91"/>
                  </a:cubicBezTo>
                  <a:cubicBezTo>
                    <a:pt x="133" y="90"/>
                    <a:pt x="134" y="90"/>
                    <a:pt x="135" y="90"/>
                  </a:cubicBezTo>
                  <a:cubicBezTo>
                    <a:pt x="145" y="90"/>
                    <a:pt x="145" y="90"/>
                    <a:pt x="145" y="90"/>
                  </a:cubicBezTo>
                  <a:cubicBezTo>
                    <a:pt x="149" y="90"/>
                    <a:pt x="152" y="87"/>
                    <a:pt x="152" y="83"/>
                  </a:cubicBezTo>
                  <a:cubicBezTo>
                    <a:pt x="152" y="74"/>
                    <a:pt x="152" y="74"/>
                    <a:pt x="152" y="74"/>
                  </a:cubicBezTo>
                  <a:cubicBezTo>
                    <a:pt x="152" y="70"/>
                    <a:pt x="149" y="67"/>
                    <a:pt x="145" y="67"/>
                  </a:cubicBezTo>
                  <a:cubicBezTo>
                    <a:pt x="135" y="67"/>
                    <a:pt x="135" y="67"/>
                    <a:pt x="135" y="67"/>
                  </a:cubicBezTo>
                  <a:cubicBezTo>
                    <a:pt x="134" y="67"/>
                    <a:pt x="133" y="66"/>
                    <a:pt x="133" y="65"/>
                  </a:cubicBezTo>
                  <a:cubicBezTo>
                    <a:pt x="132" y="60"/>
                    <a:pt x="129" y="54"/>
                    <a:pt x="126" y="49"/>
                  </a:cubicBezTo>
                  <a:cubicBezTo>
                    <a:pt x="126" y="48"/>
                    <a:pt x="126" y="47"/>
                    <a:pt x="127" y="46"/>
                  </a:cubicBezTo>
                  <a:cubicBezTo>
                    <a:pt x="133" y="39"/>
                    <a:pt x="133" y="39"/>
                    <a:pt x="133" y="39"/>
                  </a:cubicBezTo>
                  <a:cubicBezTo>
                    <a:pt x="136" y="36"/>
                    <a:pt x="136" y="32"/>
                    <a:pt x="133" y="30"/>
                  </a:cubicBezTo>
                  <a:cubicBezTo>
                    <a:pt x="127" y="23"/>
                    <a:pt x="127" y="23"/>
                    <a:pt x="127" y="23"/>
                  </a:cubicBezTo>
                  <a:cubicBezTo>
                    <a:pt x="126" y="22"/>
                    <a:pt x="124" y="21"/>
                    <a:pt x="122" y="21"/>
                  </a:cubicBezTo>
                  <a:cubicBezTo>
                    <a:pt x="121" y="21"/>
                    <a:pt x="119" y="22"/>
                    <a:pt x="118" y="23"/>
                  </a:cubicBezTo>
                  <a:cubicBezTo>
                    <a:pt x="111" y="30"/>
                    <a:pt x="111" y="30"/>
                    <a:pt x="111" y="30"/>
                  </a:cubicBezTo>
                  <a:cubicBezTo>
                    <a:pt x="110" y="31"/>
                    <a:pt x="109" y="31"/>
                    <a:pt x="108" y="30"/>
                  </a:cubicBezTo>
                  <a:cubicBezTo>
                    <a:pt x="103" y="27"/>
                    <a:pt x="97" y="25"/>
                    <a:pt x="91" y="24"/>
                  </a:cubicBezTo>
                  <a:cubicBezTo>
                    <a:pt x="90" y="23"/>
                    <a:pt x="89" y="22"/>
                    <a:pt x="89" y="21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89" y="8"/>
                    <a:pt x="86" y="5"/>
                    <a:pt x="83" y="5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0" y="5"/>
                    <a:pt x="67" y="8"/>
                    <a:pt x="67" y="1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67" y="22"/>
                    <a:pt x="66" y="23"/>
                    <a:pt x="65" y="24"/>
                  </a:cubicBezTo>
                  <a:cubicBezTo>
                    <a:pt x="59" y="25"/>
                    <a:pt x="54" y="27"/>
                    <a:pt x="49" y="30"/>
                  </a:cubicBezTo>
                  <a:cubicBezTo>
                    <a:pt x="48" y="31"/>
                    <a:pt x="46" y="31"/>
                    <a:pt x="46" y="30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36" y="21"/>
                    <a:pt x="32" y="21"/>
                    <a:pt x="29" y="23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20" y="32"/>
                    <a:pt x="20" y="36"/>
                    <a:pt x="23" y="39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1" y="47"/>
                    <a:pt x="31" y="48"/>
                    <a:pt x="30" y="49"/>
                  </a:cubicBezTo>
                  <a:cubicBezTo>
                    <a:pt x="27" y="54"/>
                    <a:pt x="25" y="60"/>
                    <a:pt x="23" y="65"/>
                  </a:cubicBezTo>
                  <a:cubicBezTo>
                    <a:pt x="23" y="66"/>
                    <a:pt x="22" y="67"/>
                    <a:pt x="21" y="67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8" y="67"/>
                    <a:pt x="5" y="70"/>
                    <a:pt x="5" y="74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87"/>
                    <a:pt x="8" y="90"/>
                    <a:pt x="1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2" y="90"/>
                    <a:pt x="23" y="90"/>
                    <a:pt x="23" y="91"/>
                  </a:cubicBezTo>
                  <a:cubicBezTo>
                    <a:pt x="25" y="97"/>
                    <a:pt x="27" y="103"/>
                    <a:pt x="30" y="108"/>
                  </a:cubicBezTo>
                  <a:cubicBezTo>
                    <a:pt x="31" y="109"/>
                    <a:pt x="31" y="110"/>
                    <a:pt x="30" y="111"/>
                  </a:cubicBezTo>
                  <a:cubicBezTo>
                    <a:pt x="23" y="118"/>
                    <a:pt x="23" y="118"/>
                    <a:pt x="23" y="118"/>
                  </a:cubicBezTo>
                  <a:cubicBezTo>
                    <a:pt x="20" y="120"/>
                    <a:pt x="20" y="125"/>
                    <a:pt x="23" y="127"/>
                  </a:cubicBezTo>
                  <a:cubicBezTo>
                    <a:pt x="29" y="134"/>
                    <a:pt x="29" y="134"/>
                    <a:pt x="29" y="134"/>
                  </a:cubicBezTo>
                  <a:cubicBezTo>
                    <a:pt x="32" y="136"/>
                    <a:pt x="36" y="136"/>
                    <a:pt x="39" y="134"/>
                  </a:cubicBezTo>
                  <a:cubicBezTo>
                    <a:pt x="46" y="127"/>
                    <a:pt x="46" y="127"/>
                    <a:pt x="46" y="127"/>
                  </a:cubicBezTo>
                  <a:cubicBezTo>
                    <a:pt x="46" y="126"/>
                    <a:pt x="47" y="126"/>
                    <a:pt x="49" y="126"/>
                  </a:cubicBezTo>
                  <a:cubicBezTo>
                    <a:pt x="49" y="126"/>
                    <a:pt x="49" y="126"/>
                    <a:pt x="49" y="1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7" name="Freeform 424">
              <a:extLst>
                <a:ext uri="{FF2B5EF4-FFF2-40B4-BE49-F238E27FC236}">
                  <a16:creationId xmlns:a16="http://schemas.microsoft.com/office/drawing/2014/main" id="{C52F05B5-9009-0015-19BD-0792E3411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0845" y="3003560"/>
              <a:ext cx="93662" cy="142876"/>
            </a:xfrm>
            <a:custGeom>
              <a:avLst/>
              <a:gdLst>
                <a:gd name="T0" fmla="*/ 21 w 42"/>
                <a:gd name="T1" fmla="*/ 62 h 63"/>
                <a:gd name="T2" fmla="*/ 1 w 42"/>
                <a:gd name="T3" fmla="*/ 52 h 63"/>
                <a:gd name="T4" fmla="*/ 2 w 42"/>
                <a:gd name="T5" fmla="*/ 49 h 63"/>
                <a:gd name="T6" fmla="*/ 5 w 42"/>
                <a:gd name="T7" fmla="*/ 49 h 63"/>
                <a:gd name="T8" fmla="*/ 31 w 42"/>
                <a:gd name="T9" fmla="*/ 55 h 63"/>
                <a:gd name="T10" fmla="*/ 31 w 42"/>
                <a:gd name="T11" fmla="*/ 55 h 63"/>
                <a:gd name="T12" fmla="*/ 37 w 42"/>
                <a:gd name="T13" fmla="*/ 45 h 63"/>
                <a:gd name="T14" fmla="*/ 28 w 42"/>
                <a:gd name="T15" fmla="*/ 34 h 63"/>
                <a:gd name="T16" fmla="*/ 13 w 42"/>
                <a:gd name="T17" fmla="*/ 30 h 63"/>
                <a:gd name="T18" fmla="*/ 1 w 42"/>
                <a:gd name="T19" fmla="*/ 15 h 63"/>
                <a:gd name="T20" fmla="*/ 6 w 42"/>
                <a:gd name="T21" fmla="*/ 4 h 63"/>
                <a:gd name="T22" fmla="*/ 22 w 42"/>
                <a:gd name="T23" fmla="*/ 0 h 63"/>
                <a:gd name="T24" fmla="*/ 42 w 42"/>
                <a:gd name="T25" fmla="*/ 13 h 63"/>
                <a:gd name="T26" fmla="*/ 40 w 42"/>
                <a:gd name="T27" fmla="*/ 16 h 63"/>
                <a:gd name="T28" fmla="*/ 37 w 42"/>
                <a:gd name="T29" fmla="*/ 15 h 63"/>
                <a:gd name="T30" fmla="*/ 22 w 42"/>
                <a:gd name="T31" fmla="*/ 5 h 63"/>
                <a:gd name="T32" fmla="*/ 9 w 42"/>
                <a:gd name="T33" fmla="*/ 8 h 63"/>
                <a:gd name="T34" fmla="*/ 6 w 42"/>
                <a:gd name="T35" fmla="*/ 15 h 63"/>
                <a:gd name="T36" fmla="*/ 14 w 42"/>
                <a:gd name="T37" fmla="*/ 25 h 63"/>
                <a:gd name="T38" fmla="*/ 29 w 42"/>
                <a:gd name="T39" fmla="*/ 29 h 63"/>
                <a:gd name="T40" fmla="*/ 42 w 42"/>
                <a:gd name="T41" fmla="*/ 44 h 63"/>
                <a:gd name="T42" fmla="*/ 33 w 42"/>
                <a:gd name="T43" fmla="*/ 60 h 63"/>
                <a:gd name="T44" fmla="*/ 21 w 42"/>
                <a:gd name="T45" fmla="*/ 6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2" h="63">
                  <a:moveTo>
                    <a:pt x="21" y="62"/>
                  </a:moveTo>
                  <a:cubicBezTo>
                    <a:pt x="14" y="62"/>
                    <a:pt x="7" y="60"/>
                    <a:pt x="1" y="52"/>
                  </a:cubicBezTo>
                  <a:cubicBezTo>
                    <a:pt x="0" y="51"/>
                    <a:pt x="1" y="50"/>
                    <a:pt x="2" y="49"/>
                  </a:cubicBezTo>
                  <a:cubicBezTo>
                    <a:pt x="3" y="48"/>
                    <a:pt x="4" y="48"/>
                    <a:pt x="5" y="49"/>
                  </a:cubicBezTo>
                  <a:cubicBezTo>
                    <a:pt x="15" y="63"/>
                    <a:pt x="30" y="55"/>
                    <a:pt x="31" y="55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7" y="52"/>
                    <a:pt x="37" y="45"/>
                  </a:cubicBezTo>
                  <a:cubicBezTo>
                    <a:pt x="36" y="37"/>
                    <a:pt x="28" y="34"/>
                    <a:pt x="28" y="34"/>
                  </a:cubicBezTo>
                  <a:cubicBezTo>
                    <a:pt x="28" y="34"/>
                    <a:pt x="20" y="32"/>
                    <a:pt x="13" y="30"/>
                  </a:cubicBezTo>
                  <a:cubicBezTo>
                    <a:pt x="5" y="27"/>
                    <a:pt x="1" y="22"/>
                    <a:pt x="1" y="15"/>
                  </a:cubicBezTo>
                  <a:cubicBezTo>
                    <a:pt x="1" y="11"/>
                    <a:pt x="3" y="7"/>
                    <a:pt x="6" y="4"/>
                  </a:cubicBezTo>
                  <a:cubicBezTo>
                    <a:pt x="9" y="1"/>
                    <a:pt x="15" y="0"/>
                    <a:pt x="22" y="0"/>
                  </a:cubicBezTo>
                  <a:cubicBezTo>
                    <a:pt x="34" y="0"/>
                    <a:pt x="40" y="9"/>
                    <a:pt x="42" y="13"/>
                  </a:cubicBezTo>
                  <a:cubicBezTo>
                    <a:pt x="42" y="15"/>
                    <a:pt x="41" y="16"/>
                    <a:pt x="40" y="16"/>
                  </a:cubicBezTo>
                  <a:cubicBezTo>
                    <a:pt x="39" y="17"/>
                    <a:pt x="37" y="16"/>
                    <a:pt x="37" y="15"/>
                  </a:cubicBezTo>
                  <a:cubicBezTo>
                    <a:pt x="37" y="14"/>
                    <a:pt x="34" y="5"/>
                    <a:pt x="22" y="5"/>
                  </a:cubicBezTo>
                  <a:cubicBezTo>
                    <a:pt x="16" y="5"/>
                    <a:pt x="12" y="6"/>
                    <a:pt x="9" y="8"/>
                  </a:cubicBezTo>
                  <a:cubicBezTo>
                    <a:pt x="7" y="10"/>
                    <a:pt x="6" y="12"/>
                    <a:pt x="6" y="15"/>
                  </a:cubicBezTo>
                  <a:cubicBezTo>
                    <a:pt x="6" y="20"/>
                    <a:pt x="9" y="23"/>
                    <a:pt x="14" y="25"/>
                  </a:cubicBezTo>
                  <a:cubicBezTo>
                    <a:pt x="22" y="27"/>
                    <a:pt x="29" y="29"/>
                    <a:pt x="29" y="29"/>
                  </a:cubicBezTo>
                  <a:cubicBezTo>
                    <a:pt x="30" y="30"/>
                    <a:pt x="40" y="33"/>
                    <a:pt x="42" y="44"/>
                  </a:cubicBezTo>
                  <a:cubicBezTo>
                    <a:pt x="42" y="53"/>
                    <a:pt x="36" y="58"/>
                    <a:pt x="33" y="60"/>
                  </a:cubicBezTo>
                  <a:cubicBezTo>
                    <a:pt x="32" y="60"/>
                    <a:pt x="27" y="62"/>
                    <a:pt x="21" y="6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8" name="Freeform 425">
              <a:extLst>
                <a:ext uri="{FF2B5EF4-FFF2-40B4-BE49-F238E27FC236}">
                  <a16:creationId xmlns:a16="http://schemas.microsoft.com/office/drawing/2014/main" id="{52A14256-038D-472C-0223-2093E20CD4F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7980" y="2976571"/>
              <a:ext cx="11113" cy="38100"/>
            </a:xfrm>
            <a:custGeom>
              <a:avLst/>
              <a:gdLst>
                <a:gd name="T0" fmla="*/ 3 w 5"/>
                <a:gd name="T1" fmla="*/ 17 h 17"/>
                <a:gd name="T2" fmla="*/ 0 w 5"/>
                <a:gd name="T3" fmla="*/ 14 h 17"/>
                <a:gd name="T4" fmla="*/ 0 w 5"/>
                <a:gd name="T5" fmla="*/ 2 h 17"/>
                <a:gd name="T6" fmla="*/ 3 w 5"/>
                <a:gd name="T7" fmla="*/ 0 h 17"/>
                <a:gd name="T8" fmla="*/ 5 w 5"/>
                <a:gd name="T9" fmla="*/ 2 h 17"/>
                <a:gd name="T10" fmla="*/ 5 w 5"/>
                <a:gd name="T11" fmla="*/ 14 h 17"/>
                <a:gd name="T12" fmla="*/ 3 w 5"/>
                <a:gd name="T1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7">
                  <a:moveTo>
                    <a:pt x="3" y="17"/>
                  </a:moveTo>
                  <a:cubicBezTo>
                    <a:pt x="1" y="17"/>
                    <a:pt x="0" y="15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5"/>
                    <a:pt x="4" y="17"/>
                    <a:pt x="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9" name="Freeform 426">
              <a:extLst>
                <a:ext uri="{FF2B5EF4-FFF2-40B4-BE49-F238E27FC236}">
                  <a16:creationId xmlns:a16="http://schemas.microsoft.com/office/drawing/2014/main" id="{B6CB00C6-73DE-0357-F519-2CD1020B7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7988" y="3135313"/>
              <a:ext cx="11113" cy="38100"/>
            </a:xfrm>
            <a:custGeom>
              <a:avLst/>
              <a:gdLst>
                <a:gd name="T0" fmla="*/ 3 w 5"/>
                <a:gd name="T1" fmla="*/ 17 h 17"/>
                <a:gd name="T2" fmla="*/ 0 w 5"/>
                <a:gd name="T3" fmla="*/ 15 h 17"/>
                <a:gd name="T4" fmla="*/ 0 w 5"/>
                <a:gd name="T5" fmla="*/ 3 h 17"/>
                <a:gd name="T6" fmla="*/ 3 w 5"/>
                <a:gd name="T7" fmla="*/ 0 h 17"/>
                <a:gd name="T8" fmla="*/ 5 w 5"/>
                <a:gd name="T9" fmla="*/ 3 h 17"/>
                <a:gd name="T10" fmla="*/ 5 w 5"/>
                <a:gd name="T11" fmla="*/ 15 h 17"/>
                <a:gd name="T12" fmla="*/ 3 w 5"/>
                <a:gd name="T1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7">
                  <a:moveTo>
                    <a:pt x="3" y="17"/>
                  </a:moveTo>
                  <a:cubicBezTo>
                    <a:pt x="1" y="17"/>
                    <a:pt x="0" y="16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6"/>
                    <a:pt x="4" y="17"/>
                    <a:pt x="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30" name="Shape70_20200717_142846">
            <a:extLst>
              <a:ext uri="{FF2B5EF4-FFF2-40B4-BE49-F238E27FC236}">
                <a16:creationId xmlns:a16="http://schemas.microsoft.com/office/drawing/2014/main" id="{E262C925-11C4-24F3-FCF3-DBBBBE5A10D8}"/>
              </a:ext>
            </a:extLst>
          </p:cNvPr>
          <p:cNvGrpSpPr>
            <a:grpSpLocks noChangeAspect="1"/>
          </p:cNvGrpSpPr>
          <p:nvPr/>
        </p:nvGrpSpPr>
        <p:grpSpPr>
          <a:xfrm>
            <a:off x="8455234" y="3856398"/>
            <a:ext cx="503758" cy="556525"/>
            <a:chOff x="-2720976" y="2143125"/>
            <a:chExt cx="333375" cy="368296"/>
          </a:xfrm>
          <a:solidFill>
            <a:schemeClr val="accent1"/>
          </a:solidFill>
        </p:grpSpPr>
        <p:sp>
          <p:nvSpPr>
            <p:cNvPr id="331" name="Freeform 548">
              <a:extLst>
                <a:ext uri="{FF2B5EF4-FFF2-40B4-BE49-F238E27FC236}">
                  <a16:creationId xmlns:a16="http://schemas.microsoft.com/office/drawing/2014/main" id="{73F6A1C8-EBC6-4D4A-7839-4E6A8B3C1E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01926" y="2197096"/>
              <a:ext cx="293688" cy="314325"/>
            </a:xfrm>
            <a:custGeom>
              <a:avLst/>
              <a:gdLst>
                <a:gd name="T0" fmla="*/ 120 w 130"/>
                <a:gd name="T1" fmla="*/ 139 h 139"/>
                <a:gd name="T2" fmla="*/ 10 w 130"/>
                <a:gd name="T3" fmla="*/ 139 h 139"/>
                <a:gd name="T4" fmla="*/ 3 w 130"/>
                <a:gd name="T5" fmla="*/ 135 h 139"/>
                <a:gd name="T6" fmla="*/ 0 w 130"/>
                <a:gd name="T7" fmla="*/ 128 h 139"/>
                <a:gd name="T8" fmla="*/ 17 w 130"/>
                <a:gd name="T9" fmla="*/ 7 h 139"/>
                <a:gd name="T10" fmla="*/ 26 w 130"/>
                <a:gd name="T11" fmla="*/ 0 h 139"/>
                <a:gd name="T12" fmla="*/ 103 w 130"/>
                <a:gd name="T13" fmla="*/ 0 h 139"/>
                <a:gd name="T14" fmla="*/ 112 w 130"/>
                <a:gd name="T15" fmla="*/ 7 h 139"/>
                <a:gd name="T16" fmla="*/ 129 w 130"/>
                <a:gd name="T17" fmla="*/ 128 h 139"/>
                <a:gd name="T18" fmla="*/ 127 w 130"/>
                <a:gd name="T19" fmla="*/ 135 h 139"/>
                <a:gd name="T20" fmla="*/ 120 w 130"/>
                <a:gd name="T21" fmla="*/ 139 h 139"/>
                <a:gd name="T22" fmla="*/ 26 w 130"/>
                <a:gd name="T23" fmla="*/ 5 h 139"/>
                <a:gd name="T24" fmla="*/ 22 w 130"/>
                <a:gd name="T25" fmla="*/ 8 h 139"/>
                <a:gd name="T26" fmla="*/ 5 w 130"/>
                <a:gd name="T27" fmla="*/ 128 h 139"/>
                <a:gd name="T28" fmla="*/ 6 w 130"/>
                <a:gd name="T29" fmla="*/ 132 h 139"/>
                <a:gd name="T30" fmla="*/ 10 w 130"/>
                <a:gd name="T31" fmla="*/ 134 h 139"/>
                <a:gd name="T32" fmla="*/ 120 w 130"/>
                <a:gd name="T33" fmla="*/ 134 h 139"/>
                <a:gd name="T34" fmla="*/ 123 w 130"/>
                <a:gd name="T35" fmla="*/ 132 h 139"/>
                <a:gd name="T36" fmla="*/ 124 w 130"/>
                <a:gd name="T37" fmla="*/ 128 h 139"/>
                <a:gd name="T38" fmla="*/ 107 w 130"/>
                <a:gd name="T39" fmla="*/ 8 h 139"/>
                <a:gd name="T40" fmla="*/ 107 w 130"/>
                <a:gd name="T41" fmla="*/ 8 h 139"/>
                <a:gd name="T42" fmla="*/ 103 w 130"/>
                <a:gd name="T43" fmla="*/ 5 h 139"/>
                <a:gd name="T44" fmla="*/ 26 w 130"/>
                <a:gd name="T45" fmla="*/ 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0" h="139">
                  <a:moveTo>
                    <a:pt x="120" y="139"/>
                  </a:moveTo>
                  <a:cubicBezTo>
                    <a:pt x="10" y="139"/>
                    <a:pt x="10" y="139"/>
                    <a:pt x="10" y="139"/>
                  </a:cubicBezTo>
                  <a:cubicBezTo>
                    <a:pt x="7" y="139"/>
                    <a:pt x="4" y="138"/>
                    <a:pt x="3" y="135"/>
                  </a:cubicBezTo>
                  <a:cubicBezTo>
                    <a:pt x="1" y="133"/>
                    <a:pt x="0" y="131"/>
                    <a:pt x="0" y="128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8" y="3"/>
                    <a:pt x="22" y="0"/>
                    <a:pt x="26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8" y="0"/>
                    <a:pt x="112" y="3"/>
                    <a:pt x="112" y="7"/>
                  </a:cubicBezTo>
                  <a:cubicBezTo>
                    <a:pt x="129" y="128"/>
                    <a:pt x="129" y="128"/>
                    <a:pt x="129" y="128"/>
                  </a:cubicBezTo>
                  <a:cubicBezTo>
                    <a:pt x="130" y="131"/>
                    <a:pt x="129" y="133"/>
                    <a:pt x="127" y="135"/>
                  </a:cubicBezTo>
                  <a:cubicBezTo>
                    <a:pt x="125" y="138"/>
                    <a:pt x="123" y="139"/>
                    <a:pt x="120" y="139"/>
                  </a:cubicBezTo>
                  <a:close/>
                  <a:moveTo>
                    <a:pt x="26" y="5"/>
                  </a:moveTo>
                  <a:cubicBezTo>
                    <a:pt x="24" y="5"/>
                    <a:pt x="22" y="7"/>
                    <a:pt x="22" y="8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30"/>
                    <a:pt x="5" y="131"/>
                    <a:pt x="6" y="132"/>
                  </a:cubicBezTo>
                  <a:cubicBezTo>
                    <a:pt x="7" y="133"/>
                    <a:pt x="9" y="134"/>
                    <a:pt x="10" y="134"/>
                  </a:cubicBezTo>
                  <a:cubicBezTo>
                    <a:pt x="120" y="134"/>
                    <a:pt x="120" y="134"/>
                    <a:pt x="120" y="134"/>
                  </a:cubicBezTo>
                  <a:cubicBezTo>
                    <a:pt x="121" y="134"/>
                    <a:pt x="122" y="133"/>
                    <a:pt x="123" y="132"/>
                  </a:cubicBezTo>
                  <a:cubicBezTo>
                    <a:pt x="124" y="131"/>
                    <a:pt x="125" y="130"/>
                    <a:pt x="124" y="128"/>
                  </a:cubicBezTo>
                  <a:cubicBezTo>
                    <a:pt x="107" y="8"/>
                    <a:pt x="107" y="8"/>
                    <a:pt x="107" y="8"/>
                  </a:cubicBezTo>
                  <a:cubicBezTo>
                    <a:pt x="107" y="8"/>
                    <a:pt x="107" y="8"/>
                    <a:pt x="107" y="8"/>
                  </a:cubicBezTo>
                  <a:cubicBezTo>
                    <a:pt x="107" y="7"/>
                    <a:pt x="106" y="5"/>
                    <a:pt x="103" y="5"/>
                  </a:cubicBezTo>
                  <a:lnTo>
                    <a:pt x="26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2" name="Freeform 549">
              <a:extLst>
                <a:ext uri="{FF2B5EF4-FFF2-40B4-BE49-F238E27FC236}">
                  <a16:creationId xmlns:a16="http://schemas.microsoft.com/office/drawing/2014/main" id="{FB145732-E90C-E1A7-09A0-CFA724CC9C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59063" y="2197096"/>
              <a:ext cx="79375" cy="314325"/>
            </a:xfrm>
            <a:custGeom>
              <a:avLst/>
              <a:gdLst>
                <a:gd name="T0" fmla="*/ 27 w 35"/>
                <a:gd name="T1" fmla="*/ 139 h 139"/>
                <a:gd name="T2" fmla="*/ 2 w 35"/>
                <a:gd name="T3" fmla="*/ 139 h 139"/>
                <a:gd name="T4" fmla="*/ 0 w 35"/>
                <a:gd name="T5" fmla="*/ 138 h 139"/>
                <a:gd name="T6" fmla="*/ 0 w 35"/>
                <a:gd name="T7" fmla="*/ 136 h 139"/>
                <a:gd name="T8" fmla="*/ 13 w 35"/>
                <a:gd name="T9" fmla="*/ 3 h 139"/>
                <a:gd name="T10" fmla="*/ 15 w 35"/>
                <a:gd name="T11" fmla="*/ 0 h 139"/>
                <a:gd name="T12" fmla="*/ 33 w 35"/>
                <a:gd name="T13" fmla="*/ 0 h 139"/>
                <a:gd name="T14" fmla="*/ 35 w 35"/>
                <a:gd name="T15" fmla="*/ 1 h 139"/>
                <a:gd name="T16" fmla="*/ 35 w 35"/>
                <a:gd name="T17" fmla="*/ 3 h 139"/>
                <a:gd name="T18" fmla="*/ 30 w 35"/>
                <a:gd name="T19" fmla="*/ 136 h 139"/>
                <a:gd name="T20" fmla="*/ 27 w 35"/>
                <a:gd name="T21" fmla="*/ 139 h 139"/>
                <a:gd name="T22" fmla="*/ 5 w 35"/>
                <a:gd name="T23" fmla="*/ 134 h 139"/>
                <a:gd name="T24" fmla="*/ 25 w 35"/>
                <a:gd name="T25" fmla="*/ 134 h 139"/>
                <a:gd name="T26" fmla="*/ 30 w 35"/>
                <a:gd name="T27" fmla="*/ 5 h 139"/>
                <a:gd name="T28" fmla="*/ 17 w 35"/>
                <a:gd name="T29" fmla="*/ 5 h 139"/>
                <a:gd name="T30" fmla="*/ 5 w 35"/>
                <a:gd name="T31" fmla="*/ 134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39">
                  <a:moveTo>
                    <a:pt x="27" y="139"/>
                  </a:moveTo>
                  <a:cubicBezTo>
                    <a:pt x="2" y="139"/>
                    <a:pt x="2" y="139"/>
                    <a:pt x="2" y="139"/>
                  </a:cubicBezTo>
                  <a:cubicBezTo>
                    <a:pt x="2" y="139"/>
                    <a:pt x="1" y="138"/>
                    <a:pt x="0" y="138"/>
                  </a:cubicBezTo>
                  <a:cubicBezTo>
                    <a:pt x="0" y="137"/>
                    <a:pt x="0" y="137"/>
                    <a:pt x="0" y="136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1"/>
                    <a:pt x="14" y="0"/>
                    <a:pt x="1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4" y="0"/>
                    <a:pt x="34" y="1"/>
                    <a:pt x="35" y="1"/>
                  </a:cubicBezTo>
                  <a:cubicBezTo>
                    <a:pt x="35" y="2"/>
                    <a:pt x="35" y="2"/>
                    <a:pt x="35" y="3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0" y="138"/>
                    <a:pt x="29" y="139"/>
                    <a:pt x="27" y="139"/>
                  </a:cubicBezTo>
                  <a:close/>
                  <a:moveTo>
                    <a:pt x="5" y="134"/>
                  </a:moveTo>
                  <a:cubicBezTo>
                    <a:pt x="25" y="134"/>
                    <a:pt x="25" y="134"/>
                    <a:pt x="25" y="134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17" y="5"/>
                    <a:pt x="17" y="5"/>
                    <a:pt x="17" y="5"/>
                  </a:cubicBezTo>
                  <a:lnTo>
                    <a:pt x="5" y="1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3" name="Freeform 550">
              <a:extLst>
                <a:ext uri="{FF2B5EF4-FFF2-40B4-BE49-F238E27FC236}">
                  <a16:creationId xmlns:a16="http://schemas.microsoft.com/office/drawing/2014/main" id="{3458D160-0DFE-F229-A76A-A65A12C128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14601" y="2406646"/>
              <a:ext cx="57150" cy="52388"/>
            </a:xfrm>
            <a:custGeom>
              <a:avLst/>
              <a:gdLst>
                <a:gd name="T0" fmla="*/ 13 w 25"/>
                <a:gd name="T1" fmla="*/ 23 h 23"/>
                <a:gd name="T2" fmla="*/ 0 w 25"/>
                <a:gd name="T3" fmla="*/ 11 h 23"/>
                <a:gd name="T4" fmla="*/ 3 w 25"/>
                <a:gd name="T5" fmla="*/ 4 h 23"/>
                <a:gd name="T6" fmla="*/ 12 w 25"/>
                <a:gd name="T7" fmla="*/ 0 h 23"/>
                <a:gd name="T8" fmla="*/ 25 w 25"/>
                <a:gd name="T9" fmla="*/ 11 h 23"/>
                <a:gd name="T10" fmla="*/ 22 w 25"/>
                <a:gd name="T11" fmla="*/ 19 h 23"/>
                <a:gd name="T12" fmla="*/ 13 w 25"/>
                <a:gd name="T13" fmla="*/ 23 h 23"/>
                <a:gd name="T14" fmla="*/ 12 w 25"/>
                <a:gd name="T15" fmla="*/ 5 h 23"/>
                <a:gd name="T16" fmla="*/ 7 w 25"/>
                <a:gd name="T17" fmla="*/ 7 h 23"/>
                <a:gd name="T18" fmla="*/ 5 w 25"/>
                <a:gd name="T19" fmla="*/ 11 h 23"/>
                <a:gd name="T20" fmla="*/ 13 w 25"/>
                <a:gd name="T21" fmla="*/ 18 h 23"/>
                <a:gd name="T22" fmla="*/ 18 w 25"/>
                <a:gd name="T23" fmla="*/ 16 h 23"/>
                <a:gd name="T24" fmla="*/ 20 w 25"/>
                <a:gd name="T25" fmla="*/ 11 h 23"/>
                <a:gd name="T26" fmla="*/ 12 w 25"/>
                <a:gd name="T27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3">
                  <a:moveTo>
                    <a:pt x="13" y="23"/>
                  </a:moveTo>
                  <a:cubicBezTo>
                    <a:pt x="7" y="23"/>
                    <a:pt x="1" y="18"/>
                    <a:pt x="0" y="11"/>
                  </a:cubicBezTo>
                  <a:cubicBezTo>
                    <a:pt x="0" y="8"/>
                    <a:pt x="1" y="6"/>
                    <a:pt x="3" y="4"/>
                  </a:cubicBezTo>
                  <a:cubicBezTo>
                    <a:pt x="5" y="1"/>
                    <a:pt x="9" y="0"/>
                    <a:pt x="12" y="0"/>
                  </a:cubicBezTo>
                  <a:cubicBezTo>
                    <a:pt x="19" y="0"/>
                    <a:pt x="24" y="5"/>
                    <a:pt x="25" y="11"/>
                  </a:cubicBezTo>
                  <a:cubicBezTo>
                    <a:pt x="25" y="14"/>
                    <a:pt x="24" y="17"/>
                    <a:pt x="22" y="19"/>
                  </a:cubicBezTo>
                  <a:cubicBezTo>
                    <a:pt x="20" y="22"/>
                    <a:pt x="17" y="23"/>
                    <a:pt x="13" y="23"/>
                  </a:cubicBezTo>
                  <a:close/>
                  <a:moveTo>
                    <a:pt x="12" y="5"/>
                  </a:moveTo>
                  <a:cubicBezTo>
                    <a:pt x="10" y="5"/>
                    <a:pt x="8" y="6"/>
                    <a:pt x="7" y="7"/>
                  </a:cubicBezTo>
                  <a:cubicBezTo>
                    <a:pt x="6" y="8"/>
                    <a:pt x="5" y="10"/>
                    <a:pt x="5" y="11"/>
                  </a:cubicBezTo>
                  <a:cubicBezTo>
                    <a:pt x="6" y="15"/>
                    <a:pt x="9" y="18"/>
                    <a:pt x="13" y="18"/>
                  </a:cubicBezTo>
                  <a:cubicBezTo>
                    <a:pt x="15" y="18"/>
                    <a:pt x="17" y="17"/>
                    <a:pt x="18" y="16"/>
                  </a:cubicBezTo>
                  <a:cubicBezTo>
                    <a:pt x="20" y="15"/>
                    <a:pt x="20" y="13"/>
                    <a:pt x="20" y="11"/>
                  </a:cubicBezTo>
                  <a:cubicBezTo>
                    <a:pt x="20" y="8"/>
                    <a:pt x="16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4" name="Freeform 551">
              <a:extLst>
                <a:ext uri="{FF2B5EF4-FFF2-40B4-BE49-F238E27FC236}">
                  <a16:creationId xmlns:a16="http://schemas.microsoft.com/office/drawing/2014/main" id="{8EBDDEC9-65B5-C297-8001-89B2DDA837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16188" y="2368548"/>
              <a:ext cx="53975" cy="49213"/>
            </a:xfrm>
            <a:custGeom>
              <a:avLst/>
              <a:gdLst>
                <a:gd name="T0" fmla="*/ 13 w 24"/>
                <a:gd name="T1" fmla="*/ 22 h 22"/>
                <a:gd name="T2" fmla="*/ 1 w 24"/>
                <a:gd name="T3" fmla="*/ 11 h 22"/>
                <a:gd name="T4" fmla="*/ 3 w 24"/>
                <a:gd name="T5" fmla="*/ 4 h 22"/>
                <a:gd name="T6" fmla="*/ 12 w 24"/>
                <a:gd name="T7" fmla="*/ 0 h 22"/>
                <a:gd name="T8" fmla="*/ 24 w 24"/>
                <a:gd name="T9" fmla="*/ 11 h 22"/>
                <a:gd name="T10" fmla="*/ 22 w 24"/>
                <a:gd name="T11" fmla="*/ 18 h 22"/>
                <a:gd name="T12" fmla="*/ 13 w 24"/>
                <a:gd name="T13" fmla="*/ 22 h 22"/>
                <a:gd name="T14" fmla="*/ 12 w 24"/>
                <a:gd name="T15" fmla="*/ 5 h 22"/>
                <a:gd name="T16" fmla="*/ 7 w 24"/>
                <a:gd name="T17" fmla="*/ 7 h 22"/>
                <a:gd name="T18" fmla="*/ 5 w 24"/>
                <a:gd name="T19" fmla="*/ 11 h 22"/>
                <a:gd name="T20" fmla="*/ 13 w 24"/>
                <a:gd name="T21" fmla="*/ 17 h 22"/>
                <a:gd name="T22" fmla="*/ 18 w 24"/>
                <a:gd name="T23" fmla="*/ 15 h 22"/>
                <a:gd name="T24" fmla="*/ 19 w 24"/>
                <a:gd name="T25" fmla="*/ 11 h 22"/>
                <a:gd name="T26" fmla="*/ 12 w 24"/>
                <a:gd name="T27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13" y="22"/>
                  </a:moveTo>
                  <a:cubicBezTo>
                    <a:pt x="6" y="22"/>
                    <a:pt x="1" y="17"/>
                    <a:pt x="1" y="11"/>
                  </a:cubicBezTo>
                  <a:cubicBezTo>
                    <a:pt x="0" y="8"/>
                    <a:pt x="1" y="6"/>
                    <a:pt x="3" y="4"/>
                  </a:cubicBezTo>
                  <a:cubicBezTo>
                    <a:pt x="5" y="2"/>
                    <a:pt x="8" y="0"/>
                    <a:pt x="12" y="0"/>
                  </a:cubicBezTo>
                  <a:cubicBezTo>
                    <a:pt x="18" y="0"/>
                    <a:pt x="24" y="5"/>
                    <a:pt x="24" y="11"/>
                  </a:cubicBezTo>
                  <a:cubicBezTo>
                    <a:pt x="24" y="13"/>
                    <a:pt x="23" y="16"/>
                    <a:pt x="22" y="18"/>
                  </a:cubicBezTo>
                  <a:cubicBezTo>
                    <a:pt x="20" y="21"/>
                    <a:pt x="16" y="22"/>
                    <a:pt x="13" y="22"/>
                  </a:cubicBezTo>
                  <a:close/>
                  <a:moveTo>
                    <a:pt x="12" y="5"/>
                  </a:moveTo>
                  <a:cubicBezTo>
                    <a:pt x="10" y="5"/>
                    <a:pt x="8" y="6"/>
                    <a:pt x="7" y="7"/>
                  </a:cubicBezTo>
                  <a:cubicBezTo>
                    <a:pt x="6" y="8"/>
                    <a:pt x="5" y="9"/>
                    <a:pt x="5" y="11"/>
                  </a:cubicBezTo>
                  <a:cubicBezTo>
                    <a:pt x="6" y="14"/>
                    <a:pt x="9" y="17"/>
                    <a:pt x="13" y="17"/>
                  </a:cubicBezTo>
                  <a:cubicBezTo>
                    <a:pt x="15" y="17"/>
                    <a:pt x="17" y="16"/>
                    <a:pt x="18" y="15"/>
                  </a:cubicBezTo>
                  <a:cubicBezTo>
                    <a:pt x="19" y="14"/>
                    <a:pt x="19" y="13"/>
                    <a:pt x="19" y="11"/>
                  </a:cubicBezTo>
                  <a:cubicBezTo>
                    <a:pt x="19" y="8"/>
                    <a:pt x="16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5" name="Freeform 552">
              <a:extLst>
                <a:ext uri="{FF2B5EF4-FFF2-40B4-BE49-F238E27FC236}">
                  <a16:creationId xmlns:a16="http://schemas.microsoft.com/office/drawing/2014/main" id="{C38144D1-4619-03C8-FA65-5DED75F14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0976" y="2143125"/>
              <a:ext cx="333375" cy="134938"/>
            </a:xfrm>
            <a:custGeom>
              <a:avLst/>
              <a:gdLst>
                <a:gd name="T0" fmla="*/ 139 w 148"/>
                <a:gd name="T1" fmla="*/ 60 h 60"/>
                <a:gd name="T2" fmla="*/ 124 w 148"/>
                <a:gd name="T3" fmla="*/ 60 h 60"/>
                <a:gd name="T4" fmla="*/ 121 w 148"/>
                <a:gd name="T5" fmla="*/ 57 h 60"/>
                <a:gd name="T6" fmla="*/ 124 w 148"/>
                <a:gd name="T7" fmla="*/ 55 h 60"/>
                <a:gd name="T8" fmla="*/ 139 w 148"/>
                <a:gd name="T9" fmla="*/ 55 h 60"/>
                <a:gd name="T10" fmla="*/ 143 w 148"/>
                <a:gd name="T11" fmla="*/ 51 h 60"/>
                <a:gd name="T12" fmla="*/ 143 w 148"/>
                <a:gd name="T13" fmla="*/ 9 h 60"/>
                <a:gd name="T14" fmla="*/ 139 w 148"/>
                <a:gd name="T15" fmla="*/ 5 h 60"/>
                <a:gd name="T16" fmla="*/ 9 w 148"/>
                <a:gd name="T17" fmla="*/ 5 h 60"/>
                <a:gd name="T18" fmla="*/ 5 w 148"/>
                <a:gd name="T19" fmla="*/ 9 h 60"/>
                <a:gd name="T20" fmla="*/ 5 w 148"/>
                <a:gd name="T21" fmla="*/ 51 h 60"/>
                <a:gd name="T22" fmla="*/ 9 w 148"/>
                <a:gd name="T23" fmla="*/ 55 h 60"/>
                <a:gd name="T24" fmla="*/ 24 w 148"/>
                <a:gd name="T25" fmla="*/ 55 h 60"/>
                <a:gd name="T26" fmla="*/ 26 w 148"/>
                <a:gd name="T27" fmla="*/ 57 h 60"/>
                <a:gd name="T28" fmla="*/ 24 w 148"/>
                <a:gd name="T29" fmla="*/ 60 h 60"/>
                <a:gd name="T30" fmla="*/ 9 w 148"/>
                <a:gd name="T31" fmla="*/ 60 h 60"/>
                <a:gd name="T32" fmla="*/ 0 w 148"/>
                <a:gd name="T33" fmla="*/ 51 h 60"/>
                <a:gd name="T34" fmla="*/ 0 w 148"/>
                <a:gd name="T35" fmla="*/ 9 h 60"/>
                <a:gd name="T36" fmla="*/ 9 w 148"/>
                <a:gd name="T37" fmla="*/ 0 h 60"/>
                <a:gd name="T38" fmla="*/ 139 w 148"/>
                <a:gd name="T39" fmla="*/ 0 h 60"/>
                <a:gd name="T40" fmla="*/ 148 w 148"/>
                <a:gd name="T41" fmla="*/ 9 h 60"/>
                <a:gd name="T42" fmla="*/ 148 w 148"/>
                <a:gd name="T43" fmla="*/ 51 h 60"/>
                <a:gd name="T44" fmla="*/ 139 w 148"/>
                <a:gd name="T4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8" h="60">
                  <a:moveTo>
                    <a:pt x="139" y="60"/>
                  </a:moveTo>
                  <a:cubicBezTo>
                    <a:pt x="124" y="60"/>
                    <a:pt x="124" y="60"/>
                    <a:pt x="124" y="60"/>
                  </a:cubicBezTo>
                  <a:cubicBezTo>
                    <a:pt x="122" y="60"/>
                    <a:pt x="121" y="59"/>
                    <a:pt x="121" y="57"/>
                  </a:cubicBezTo>
                  <a:cubicBezTo>
                    <a:pt x="121" y="56"/>
                    <a:pt x="122" y="55"/>
                    <a:pt x="124" y="55"/>
                  </a:cubicBezTo>
                  <a:cubicBezTo>
                    <a:pt x="139" y="55"/>
                    <a:pt x="139" y="55"/>
                    <a:pt x="139" y="55"/>
                  </a:cubicBezTo>
                  <a:cubicBezTo>
                    <a:pt x="141" y="55"/>
                    <a:pt x="143" y="53"/>
                    <a:pt x="143" y="51"/>
                  </a:cubicBezTo>
                  <a:cubicBezTo>
                    <a:pt x="143" y="9"/>
                    <a:pt x="143" y="9"/>
                    <a:pt x="143" y="9"/>
                  </a:cubicBezTo>
                  <a:cubicBezTo>
                    <a:pt x="143" y="7"/>
                    <a:pt x="141" y="5"/>
                    <a:pt x="13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7" y="5"/>
                    <a:pt x="5" y="7"/>
                    <a:pt x="5" y="9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53"/>
                    <a:pt x="7" y="55"/>
                    <a:pt x="9" y="55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25" y="55"/>
                    <a:pt x="26" y="56"/>
                    <a:pt x="26" y="57"/>
                  </a:cubicBezTo>
                  <a:cubicBezTo>
                    <a:pt x="26" y="59"/>
                    <a:pt x="25" y="60"/>
                    <a:pt x="24" y="60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4" y="60"/>
                    <a:pt x="0" y="56"/>
                    <a:pt x="0" y="5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39" y="0"/>
                    <a:pt x="139" y="0"/>
                    <a:pt x="139" y="0"/>
                  </a:cubicBezTo>
                  <a:cubicBezTo>
                    <a:pt x="144" y="0"/>
                    <a:pt x="148" y="4"/>
                    <a:pt x="148" y="9"/>
                  </a:cubicBezTo>
                  <a:cubicBezTo>
                    <a:pt x="148" y="51"/>
                    <a:pt x="148" y="51"/>
                    <a:pt x="148" y="51"/>
                  </a:cubicBezTo>
                  <a:cubicBezTo>
                    <a:pt x="148" y="56"/>
                    <a:pt x="144" y="60"/>
                    <a:pt x="139" y="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41" name="Shape55_20200717_142846">
            <a:extLst>
              <a:ext uri="{FF2B5EF4-FFF2-40B4-BE49-F238E27FC236}">
                <a16:creationId xmlns:a16="http://schemas.microsoft.com/office/drawing/2014/main" id="{0AEB2042-D21F-B3EC-5348-37B1F2B92E8C}"/>
              </a:ext>
            </a:extLst>
          </p:cNvPr>
          <p:cNvGrpSpPr>
            <a:grpSpLocks noChangeAspect="1"/>
          </p:cNvGrpSpPr>
          <p:nvPr/>
        </p:nvGrpSpPr>
        <p:grpSpPr>
          <a:xfrm>
            <a:off x="9608474" y="1242882"/>
            <a:ext cx="808401" cy="561394"/>
            <a:chOff x="-3621087" y="1772583"/>
            <a:chExt cx="534982" cy="371510"/>
          </a:xfrm>
          <a:solidFill>
            <a:schemeClr val="accent1"/>
          </a:solidFill>
        </p:grpSpPr>
        <p:sp>
          <p:nvSpPr>
            <p:cNvPr id="342" name="Freeform 1532">
              <a:extLst>
                <a:ext uri="{FF2B5EF4-FFF2-40B4-BE49-F238E27FC236}">
                  <a16:creationId xmlns:a16="http://schemas.microsoft.com/office/drawing/2014/main" id="{4CAFFD89-744E-3265-D53A-20A3DE27B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82967" y="1955141"/>
              <a:ext cx="57150" cy="33338"/>
            </a:xfrm>
            <a:custGeom>
              <a:avLst/>
              <a:gdLst>
                <a:gd name="T0" fmla="*/ 27 w 54"/>
                <a:gd name="T1" fmla="*/ 32 h 32"/>
                <a:gd name="T2" fmla="*/ 23 w 54"/>
                <a:gd name="T3" fmla="*/ 31 h 32"/>
                <a:gd name="T4" fmla="*/ 2 w 54"/>
                <a:gd name="T5" fmla="*/ 10 h 32"/>
                <a:gd name="T6" fmla="*/ 2 w 54"/>
                <a:gd name="T7" fmla="*/ 2 h 32"/>
                <a:gd name="T8" fmla="*/ 10 w 54"/>
                <a:gd name="T9" fmla="*/ 2 h 32"/>
                <a:gd name="T10" fmla="*/ 27 w 54"/>
                <a:gd name="T11" fmla="*/ 19 h 32"/>
                <a:gd name="T12" fmla="*/ 44 w 54"/>
                <a:gd name="T13" fmla="*/ 2 h 32"/>
                <a:gd name="T14" fmla="*/ 52 w 54"/>
                <a:gd name="T15" fmla="*/ 2 h 32"/>
                <a:gd name="T16" fmla="*/ 52 w 54"/>
                <a:gd name="T17" fmla="*/ 10 h 32"/>
                <a:gd name="T18" fmla="*/ 31 w 54"/>
                <a:gd name="T19" fmla="*/ 31 h 32"/>
                <a:gd name="T20" fmla="*/ 27 w 54"/>
                <a:gd name="T2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32">
                  <a:moveTo>
                    <a:pt x="27" y="32"/>
                  </a:moveTo>
                  <a:cubicBezTo>
                    <a:pt x="26" y="32"/>
                    <a:pt x="24" y="32"/>
                    <a:pt x="23" y="3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8" y="0"/>
                    <a:pt x="10" y="2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6" y="0"/>
                    <a:pt x="50" y="0"/>
                    <a:pt x="52" y="2"/>
                  </a:cubicBezTo>
                  <a:cubicBezTo>
                    <a:pt x="54" y="4"/>
                    <a:pt x="54" y="8"/>
                    <a:pt x="52" y="10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0" y="32"/>
                    <a:pt x="29" y="32"/>
                    <a:pt x="27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3" name="Freeform 1533">
              <a:extLst>
                <a:ext uri="{FF2B5EF4-FFF2-40B4-BE49-F238E27FC236}">
                  <a16:creationId xmlns:a16="http://schemas.microsoft.com/office/drawing/2014/main" id="{D81865C9-D2D9-CF78-620D-2F09FF04A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59155" y="1917041"/>
              <a:ext cx="11113" cy="71437"/>
            </a:xfrm>
            <a:custGeom>
              <a:avLst/>
              <a:gdLst>
                <a:gd name="T0" fmla="*/ 5 w 11"/>
                <a:gd name="T1" fmla="*/ 69 h 69"/>
                <a:gd name="T2" fmla="*/ 0 w 11"/>
                <a:gd name="T3" fmla="*/ 64 h 69"/>
                <a:gd name="T4" fmla="*/ 0 w 11"/>
                <a:gd name="T5" fmla="*/ 5 h 69"/>
                <a:gd name="T6" fmla="*/ 5 w 11"/>
                <a:gd name="T7" fmla="*/ 0 h 69"/>
                <a:gd name="T8" fmla="*/ 11 w 11"/>
                <a:gd name="T9" fmla="*/ 5 h 69"/>
                <a:gd name="T10" fmla="*/ 11 w 11"/>
                <a:gd name="T11" fmla="*/ 64 h 69"/>
                <a:gd name="T12" fmla="*/ 5 w 11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9">
                  <a:moveTo>
                    <a:pt x="5" y="69"/>
                  </a:moveTo>
                  <a:cubicBezTo>
                    <a:pt x="2" y="69"/>
                    <a:pt x="0" y="67"/>
                    <a:pt x="0" y="6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1" y="67"/>
                    <a:pt x="8" y="69"/>
                    <a:pt x="5" y="6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4" name="Freeform 1534">
              <a:extLst>
                <a:ext uri="{FF2B5EF4-FFF2-40B4-BE49-F238E27FC236}">
                  <a16:creationId xmlns:a16="http://schemas.microsoft.com/office/drawing/2014/main" id="{831F7F35-A84A-FF0F-83D8-7C3FDA967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06793" y="1937679"/>
              <a:ext cx="41275" cy="42862"/>
            </a:xfrm>
            <a:custGeom>
              <a:avLst/>
              <a:gdLst>
                <a:gd name="T0" fmla="*/ 35 w 40"/>
                <a:gd name="T1" fmla="*/ 41 h 41"/>
                <a:gd name="T2" fmla="*/ 5 w 40"/>
                <a:gd name="T3" fmla="*/ 41 h 41"/>
                <a:gd name="T4" fmla="*/ 0 w 40"/>
                <a:gd name="T5" fmla="*/ 35 h 41"/>
                <a:gd name="T6" fmla="*/ 0 w 40"/>
                <a:gd name="T7" fmla="*/ 6 h 41"/>
                <a:gd name="T8" fmla="*/ 5 w 40"/>
                <a:gd name="T9" fmla="*/ 0 h 41"/>
                <a:gd name="T10" fmla="*/ 11 w 40"/>
                <a:gd name="T11" fmla="*/ 6 h 41"/>
                <a:gd name="T12" fmla="*/ 11 w 40"/>
                <a:gd name="T13" fmla="*/ 30 h 41"/>
                <a:gd name="T14" fmla="*/ 35 w 40"/>
                <a:gd name="T15" fmla="*/ 30 h 41"/>
                <a:gd name="T16" fmla="*/ 40 w 40"/>
                <a:gd name="T17" fmla="*/ 35 h 41"/>
                <a:gd name="T18" fmla="*/ 35 w 40"/>
                <a:gd name="T1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1">
                  <a:moveTo>
                    <a:pt x="35" y="41"/>
                  </a:moveTo>
                  <a:cubicBezTo>
                    <a:pt x="5" y="41"/>
                    <a:pt x="5" y="41"/>
                    <a:pt x="5" y="41"/>
                  </a:cubicBezTo>
                  <a:cubicBezTo>
                    <a:pt x="2" y="41"/>
                    <a:pt x="0" y="38"/>
                    <a:pt x="0" y="3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8" y="30"/>
                    <a:pt x="40" y="32"/>
                    <a:pt x="40" y="35"/>
                  </a:cubicBezTo>
                  <a:cubicBezTo>
                    <a:pt x="40" y="38"/>
                    <a:pt x="38" y="41"/>
                    <a:pt x="35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5" name="Freeform 1535">
              <a:extLst>
                <a:ext uri="{FF2B5EF4-FFF2-40B4-BE49-F238E27FC236}">
                  <a16:creationId xmlns:a16="http://schemas.microsoft.com/office/drawing/2014/main" id="{158F4D92-EB98-3FB9-3894-7C53E2A62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08381" y="1924979"/>
              <a:ext cx="57150" cy="55562"/>
            </a:xfrm>
            <a:custGeom>
              <a:avLst/>
              <a:gdLst>
                <a:gd name="T0" fmla="*/ 6 w 54"/>
                <a:gd name="T1" fmla="*/ 53 h 53"/>
                <a:gd name="T2" fmla="*/ 3 w 54"/>
                <a:gd name="T3" fmla="*/ 51 h 53"/>
                <a:gd name="T4" fmla="*/ 3 w 54"/>
                <a:gd name="T5" fmla="*/ 43 h 53"/>
                <a:gd name="T6" fmla="*/ 44 w 54"/>
                <a:gd name="T7" fmla="*/ 2 h 53"/>
                <a:gd name="T8" fmla="*/ 52 w 54"/>
                <a:gd name="T9" fmla="*/ 2 h 53"/>
                <a:gd name="T10" fmla="*/ 52 w 54"/>
                <a:gd name="T11" fmla="*/ 10 h 53"/>
                <a:gd name="T12" fmla="*/ 10 w 54"/>
                <a:gd name="T13" fmla="*/ 51 h 53"/>
                <a:gd name="T14" fmla="*/ 6 w 54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53">
                  <a:moveTo>
                    <a:pt x="6" y="53"/>
                  </a:moveTo>
                  <a:cubicBezTo>
                    <a:pt x="5" y="53"/>
                    <a:pt x="4" y="52"/>
                    <a:pt x="3" y="51"/>
                  </a:cubicBezTo>
                  <a:cubicBezTo>
                    <a:pt x="0" y="49"/>
                    <a:pt x="0" y="46"/>
                    <a:pt x="3" y="43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6" y="0"/>
                    <a:pt x="49" y="0"/>
                    <a:pt x="52" y="2"/>
                  </a:cubicBezTo>
                  <a:cubicBezTo>
                    <a:pt x="54" y="4"/>
                    <a:pt x="54" y="8"/>
                    <a:pt x="52" y="10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2"/>
                    <a:pt x="8" y="53"/>
                    <a:pt x="6" y="5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6" name="Freeform 1536">
              <a:extLst>
                <a:ext uri="{FF2B5EF4-FFF2-40B4-BE49-F238E27FC236}">
                  <a16:creationId xmlns:a16="http://schemas.microsoft.com/office/drawing/2014/main" id="{C8EA95D6-36CA-5935-864B-322F28F60C6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43267" y="1937679"/>
              <a:ext cx="41275" cy="42862"/>
            </a:xfrm>
            <a:custGeom>
              <a:avLst/>
              <a:gdLst>
                <a:gd name="T0" fmla="*/ 35 w 40"/>
                <a:gd name="T1" fmla="*/ 41 h 41"/>
                <a:gd name="T2" fmla="*/ 5 w 40"/>
                <a:gd name="T3" fmla="*/ 41 h 41"/>
                <a:gd name="T4" fmla="*/ 0 w 40"/>
                <a:gd name="T5" fmla="*/ 35 h 41"/>
                <a:gd name="T6" fmla="*/ 5 w 40"/>
                <a:gd name="T7" fmla="*/ 30 h 41"/>
                <a:gd name="T8" fmla="*/ 29 w 40"/>
                <a:gd name="T9" fmla="*/ 30 h 41"/>
                <a:gd name="T10" fmla="*/ 29 w 40"/>
                <a:gd name="T11" fmla="*/ 6 h 41"/>
                <a:gd name="T12" fmla="*/ 35 w 40"/>
                <a:gd name="T13" fmla="*/ 0 h 41"/>
                <a:gd name="T14" fmla="*/ 40 w 40"/>
                <a:gd name="T15" fmla="*/ 6 h 41"/>
                <a:gd name="T16" fmla="*/ 40 w 40"/>
                <a:gd name="T17" fmla="*/ 35 h 41"/>
                <a:gd name="T18" fmla="*/ 35 w 40"/>
                <a:gd name="T1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1">
                  <a:moveTo>
                    <a:pt x="35" y="41"/>
                  </a:moveTo>
                  <a:cubicBezTo>
                    <a:pt x="5" y="41"/>
                    <a:pt x="5" y="41"/>
                    <a:pt x="5" y="41"/>
                  </a:cubicBezTo>
                  <a:cubicBezTo>
                    <a:pt x="2" y="41"/>
                    <a:pt x="0" y="38"/>
                    <a:pt x="0" y="35"/>
                  </a:cubicBezTo>
                  <a:cubicBezTo>
                    <a:pt x="0" y="32"/>
                    <a:pt x="2" y="30"/>
                    <a:pt x="5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3"/>
                    <a:pt x="32" y="0"/>
                    <a:pt x="35" y="0"/>
                  </a:cubicBezTo>
                  <a:cubicBezTo>
                    <a:pt x="38" y="0"/>
                    <a:pt x="40" y="3"/>
                    <a:pt x="40" y="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38"/>
                    <a:pt x="38" y="41"/>
                    <a:pt x="35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7" name="Freeform 1537">
              <a:extLst>
                <a:ext uri="{FF2B5EF4-FFF2-40B4-BE49-F238E27FC236}">
                  <a16:creationId xmlns:a16="http://schemas.microsoft.com/office/drawing/2014/main" id="{2FC5E48E-1B20-8CD3-8653-431657C7D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55968" y="1924979"/>
              <a:ext cx="55563" cy="55562"/>
            </a:xfrm>
            <a:custGeom>
              <a:avLst/>
              <a:gdLst>
                <a:gd name="T0" fmla="*/ 47 w 53"/>
                <a:gd name="T1" fmla="*/ 53 h 53"/>
                <a:gd name="T2" fmla="*/ 43 w 53"/>
                <a:gd name="T3" fmla="*/ 51 h 53"/>
                <a:gd name="T4" fmla="*/ 2 w 53"/>
                <a:gd name="T5" fmla="*/ 10 h 53"/>
                <a:gd name="T6" fmla="*/ 2 w 53"/>
                <a:gd name="T7" fmla="*/ 2 h 53"/>
                <a:gd name="T8" fmla="*/ 9 w 53"/>
                <a:gd name="T9" fmla="*/ 2 h 53"/>
                <a:gd name="T10" fmla="*/ 51 w 53"/>
                <a:gd name="T11" fmla="*/ 43 h 53"/>
                <a:gd name="T12" fmla="*/ 51 w 53"/>
                <a:gd name="T13" fmla="*/ 51 h 53"/>
                <a:gd name="T14" fmla="*/ 47 w 53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53">
                  <a:moveTo>
                    <a:pt x="47" y="53"/>
                  </a:moveTo>
                  <a:cubicBezTo>
                    <a:pt x="45" y="53"/>
                    <a:pt x="44" y="52"/>
                    <a:pt x="43" y="5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4" y="0"/>
                    <a:pt x="7" y="0"/>
                    <a:pt x="9" y="2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3" y="46"/>
                    <a:pt x="53" y="49"/>
                    <a:pt x="51" y="51"/>
                  </a:cubicBezTo>
                  <a:cubicBezTo>
                    <a:pt x="50" y="52"/>
                    <a:pt x="48" y="53"/>
                    <a:pt x="47" y="5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8" name="Freeform 1538">
              <a:extLst>
                <a:ext uri="{FF2B5EF4-FFF2-40B4-BE49-F238E27FC236}">
                  <a16:creationId xmlns:a16="http://schemas.microsoft.com/office/drawing/2014/main" id="{50B0C940-671F-F304-C6E3-FB6469C751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19480" y="1834493"/>
              <a:ext cx="130175" cy="74612"/>
            </a:xfrm>
            <a:custGeom>
              <a:avLst/>
              <a:gdLst>
                <a:gd name="T0" fmla="*/ 119 w 125"/>
                <a:gd name="T1" fmla="*/ 71 h 71"/>
                <a:gd name="T2" fmla="*/ 114 w 125"/>
                <a:gd name="T3" fmla="*/ 66 h 71"/>
                <a:gd name="T4" fmla="*/ 114 w 125"/>
                <a:gd name="T5" fmla="*/ 30 h 71"/>
                <a:gd name="T6" fmla="*/ 94 w 125"/>
                <a:gd name="T7" fmla="*/ 11 h 71"/>
                <a:gd name="T8" fmla="*/ 31 w 125"/>
                <a:gd name="T9" fmla="*/ 11 h 71"/>
                <a:gd name="T10" fmla="*/ 11 w 125"/>
                <a:gd name="T11" fmla="*/ 30 h 71"/>
                <a:gd name="T12" fmla="*/ 11 w 125"/>
                <a:gd name="T13" fmla="*/ 66 h 71"/>
                <a:gd name="T14" fmla="*/ 5 w 125"/>
                <a:gd name="T15" fmla="*/ 71 h 71"/>
                <a:gd name="T16" fmla="*/ 0 w 125"/>
                <a:gd name="T17" fmla="*/ 66 h 71"/>
                <a:gd name="T18" fmla="*/ 0 w 125"/>
                <a:gd name="T19" fmla="*/ 30 h 71"/>
                <a:gd name="T20" fmla="*/ 31 w 125"/>
                <a:gd name="T21" fmla="*/ 0 h 71"/>
                <a:gd name="T22" fmla="*/ 94 w 125"/>
                <a:gd name="T23" fmla="*/ 0 h 71"/>
                <a:gd name="T24" fmla="*/ 125 w 125"/>
                <a:gd name="T25" fmla="*/ 30 h 71"/>
                <a:gd name="T26" fmla="*/ 125 w 125"/>
                <a:gd name="T27" fmla="*/ 66 h 71"/>
                <a:gd name="T28" fmla="*/ 119 w 125"/>
                <a:gd name="T29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" h="71">
                  <a:moveTo>
                    <a:pt x="119" y="71"/>
                  </a:moveTo>
                  <a:cubicBezTo>
                    <a:pt x="116" y="71"/>
                    <a:pt x="114" y="69"/>
                    <a:pt x="114" y="66"/>
                  </a:cubicBezTo>
                  <a:cubicBezTo>
                    <a:pt x="114" y="30"/>
                    <a:pt x="114" y="30"/>
                    <a:pt x="114" y="30"/>
                  </a:cubicBezTo>
                  <a:cubicBezTo>
                    <a:pt x="114" y="19"/>
                    <a:pt x="105" y="11"/>
                    <a:pt x="94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0" y="11"/>
                    <a:pt x="11" y="19"/>
                    <a:pt x="11" y="30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1" y="69"/>
                    <a:pt x="8" y="71"/>
                    <a:pt x="5" y="71"/>
                  </a:cubicBezTo>
                  <a:cubicBezTo>
                    <a:pt x="2" y="71"/>
                    <a:pt x="0" y="69"/>
                    <a:pt x="0" y="6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1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11" y="0"/>
                    <a:pt x="125" y="13"/>
                    <a:pt x="125" y="30"/>
                  </a:cubicBezTo>
                  <a:cubicBezTo>
                    <a:pt x="125" y="66"/>
                    <a:pt x="125" y="66"/>
                    <a:pt x="125" y="66"/>
                  </a:cubicBezTo>
                  <a:cubicBezTo>
                    <a:pt x="125" y="69"/>
                    <a:pt x="122" y="71"/>
                    <a:pt x="119" y="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9" name="Freeform 1539">
              <a:extLst>
                <a:ext uri="{FF2B5EF4-FFF2-40B4-BE49-F238E27FC236}">
                  <a16:creationId xmlns:a16="http://schemas.microsoft.com/office/drawing/2014/main" id="{5F88931C-D20A-8BCC-4904-9F3737C069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82967" y="1772583"/>
              <a:ext cx="57150" cy="55562"/>
            </a:xfrm>
            <a:custGeom>
              <a:avLst/>
              <a:gdLst>
                <a:gd name="T0" fmla="*/ 27 w 54"/>
                <a:gd name="T1" fmla="*/ 53 h 53"/>
                <a:gd name="T2" fmla="*/ 0 w 54"/>
                <a:gd name="T3" fmla="*/ 27 h 53"/>
                <a:gd name="T4" fmla="*/ 27 w 54"/>
                <a:gd name="T5" fmla="*/ 0 h 53"/>
                <a:gd name="T6" fmla="*/ 54 w 54"/>
                <a:gd name="T7" fmla="*/ 27 h 53"/>
                <a:gd name="T8" fmla="*/ 27 w 54"/>
                <a:gd name="T9" fmla="*/ 53 h 53"/>
                <a:gd name="T10" fmla="*/ 27 w 54"/>
                <a:gd name="T11" fmla="*/ 11 h 53"/>
                <a:gd name="T12" fmla="*/ 11 w 54"/>
                <a:gd name="T13" fmla="*/ 27 h 53"/>
                <a:gd name="T14" fmla="*/ 27 w 54"/>
                <a:gd name="T15" fmla="*/ 42 h 53"/>
                <a:gd name="T16" fmla="*/ 43 w 54"/>
                <a:gd name="T17" fmla="*/ 27 h 53"/>
                <a:gd name="T18" fmla="*/ 27 w 54"/>
                <a:gd name="T1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3">
                  <a:moveTo>
                    <a:pt x="27" y="53"/>
                  </a:moveTo>
                  <a:cubicBezTo>
                    <a:pt x="13" y="53"/>
                    <a:pt x="0" y="41"/>
                    <a:pt x="0" y="27"/>
                  </a:cubicBezTo>
                  <a:cubicBezTo>
                    <a:pt x="0" y="12"/>
                    <a:pt x="13" y="0"/>
                    <a:pt x="27" y="0"/>
                  </a:cubicBezTo>
                  <a:cubicBezTo>
                    <a:pt x="42" y="0"/>
                    <a:pt x="54" y="12"/>
                    <a:pt x="54" y="27"/>
                  </a:cubicBezTo>
                  <a:cubicBezTo>
                    <a:pt x="54" y="41"/>
                    <a:pt x="42" y="53"/>
                    <a:pt x="27" y="53"/>
                  </a:cubicBezTo>
                  <a:close/>
                  <a:moveTo>
                    <a:pt x="27" y="11"/>
                  </a:moveTo>
                  <a:cubicBezTo>
                    <a:pt x="19" y="11"/>
                    <a:pt x="11" y="18"/>
                    <a:pt x="11" y="27"/>
                  </a:cubicBezTo>
                  <a:cubicBezTo>
                    <a:pt x="11" y="35"/>
                    <a:pt x="19" y="42"/>
                    <a:pt x="27" y="42"/>
                  </a:cubicBezTo>
                  <a:cubicBezTo>
                    <a:pt x="36" y="42"/>
                    <a:pt x="43" y="35"/>
                    <a:pt x="43" y="27"/>
                  </a:cubicBezTo>
                  <a:cubicBezTo>
                    <a:pt x="43" y="18"/>
                    <a:pt x="36" y="11"/>
                    <a:pt x="2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0" name="Freeform 1540">
              <a:extLst>
                <a:ext uri="{FF2B5EF4-FFF2-40B4-BE49-F238E27FC236}">
                  <a16:creationId xmlns:a16="http://schemas.microsoft.com/office/drawing/2014/main" id="{862A0672-1CE3-10FC-AF74-3CB6AF166FF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95668" y="1864658"/>
              <a:ext cx="12700" cy="44449"/>
            </a:xfrm>
            <a:custGeom>
              <a:avLst/>
              <a:gdLst>
                <a:gd name="T0" fmla="*/ 6 w 11"/>
                <a:gd name="T1" fmla="*/ 42 h 42"/>
                <a:gd name="T2" fmla="*/ 0 w 11"/>
                <a:gd name="T3" fmla="*/ 37 h 42"/>
                <a:gd name="T4" fmla="*/ 0 w 11"/>
                <a:gd name="T5" fmla="*/ 5 h 42"/>
                <a:gd name="T6" fmla="*/ 6 w 11"/>
                <a:gd name="T7" fmla="*/ 0 h 42"/>
                <a:gd name="T8" fmla="*/ 11 w 11"/>
                <a:gd name="T9" fmla="*/ 5 h 42"/>
                <a:gd name="T10" fmla="*/ 11 w 11"/>
                <a:gd name="T11" fmla="*/ 37 h 42"/>
                <a:gd name="T12" fmla="*/ 6 w 11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2">
                  <a:moveTo>
                    <a:pt x="6" y="42"/>
                  </a:moveTo>
                  <a:cubicBezTo>
                    <a:pt x="3" y="42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9" y="42"/>
                    <a:pt x="6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1" name="Freeform 1541">
              <a:extLst>
                <a:ext uri="{FF2B5EF4-FFF2-40B4-BE49-F238E27FC236}">
                  <a16:creationId xmlns:a16="http://schemas.microsoft.com/office/drawing/2014/main" id="{56C89BA2-EA7A-1BAB-9107-4F79A7DFC12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25818" y="1864659"/>
              <a:ext cx="11113" cy="44449"/>
            </a:xfrm>
            <a:custGeom>
              <a:avLst/>
              <a:gdLst>
                <a:gd name="T0" fmla="*/ 6 w 11"/>
                <a:gd name="T1" fmla="*/ 42 h 42"/>
                <a:gd name="T2" fmla="*/ 0 w 11"/>
                <a:gd name="T3" fmla="*/ 37 h 42"/>
                <a:gd name="T4" fmla="*/ 0 w 11"/>
                <a:gd name="T5" fmla="*/ 5 h 42"/>
                <a:gd name="T6" fmla="*/ 6 w 11"/>
                <a:gd name="T7" fmla="*/ 0 h 42"/>
                <a:gd name="T8" fmla="*/ 11 w 11"/>
                <a:gd name="T9" fmla="*/ 5 h 42"/>
                <a:gd name="T10" fmla="*/ 11 w 11"/>
                <a:gd name="T11" fmla="*/ 37 h 42"/>
                <a:gd name="T12" fmla="*/ 6 w 11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2">
                  <a:moveTo>
                    <a:pt x="6" y="42"/>
                  </a:moveTo>
                  <a:cubicBezTo>
                    <a:pt x="3" y="42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9" y="42"/>
                    <a:pt x="6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2" name="Freeform 1542">
              <a:extLst>
                <a:ext uri="{FF2B5EF4-FFF2-40B4-BE49-F238E27FC236}">
                  <a16:creationId xmlns:a16="http://schemas.microsoft.com/office/drawing/2014/main" id="{0B580FA1-F0E9-F13D-BC1D-9E42C529F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3767" y="1896407"/>
              <a:ext cx="158750" cy="12700"/>
            </a:xfrm>
            <a:custGeom>
              <a:avLst/>
              <a:gdLst>
                <a:gd name="T0" fmla="*/ 147 w 152"/>
                <a:gd name="T1" fmla="*/ 11 h 11"/>
                <a:gd name="T2" fmla="*/ 6 w 152"/>
                <a:gd name="T3" fmla="*/ 11 h 11"/>
                <a:gd name="T4" fmla="*/ 0 w 152"/>
                <a:gd name="T5" fmla="*/ 6 h 11"/>
                <a:gd name="T6" fmla="*/ 6 w 152"/>
                <a:gd name="T7" fmla="*/ 0 h 11"/>
                <a:gd name="T8" fmla="*/ 147 w 152"/>
                <a:gd name="T9" fmla="*/ 0 h 11"/>
                <a:gd name="T10" fmla="*/ 152 w 152"/>
                <a:gd name="T11" fmla="*/ 6 h 11"/>
                <a:gd name="T12" fmla="*/ 147 w 152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1">
                  <a:moveTo>
                    <a:pt x="147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50" y="0"/>
                    <a:pt x="152" y="3"/>
                    <a:pt x="152" y="6"/>
                  </a:cubicBezTo>
                  <a:cubicBezTo>
                    <a:pt x="152" y="9"/>
                    <a:pt x="150" y="11"/>
                    <a:pt x="14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3" name="Freeform 1543">
              <a:extLst>
                <a:ext uri="{FF2B5EF4-FFF2-40B4-BE49-F238E27FC236}">
                  <a16:creationId xmlns:a16="http://schemas.microsoft.com/office/drawing/2014/main" id="{CA451BB6-4633-70AD-948C-F01F8012D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19480" y="2069441"/>
              <a:ext cx="130175" cy="74612"/>
            </a:xfrm>
            <a:custGeom>
              <a:avLst/>
              <a:gdLst>
                <a:gd name="T0" fmla="*/ 119 w 125"/>
                <a:gd name="T1" fmla="*/ 72 h 72"/>
                <a:gd name="T2" fmla="*/ 114 w 125"/>
                <a:gd name="T3" fmla="*/ 66 h 72"/>
                <a:gd name="T4" fmla="*/ 114 w 125"/>
                <a:gd name="T5" fmla="*/ 30 h 72"/>
                <a:gd name="T6" fmla="*/ 94 w 125"/>
                <a:gd name="T7" fmla="*/ 11 h 72"/>
                <a:gd name="T8" fmla="*/ 31 w 125"/>
                <a:gd name="T9" fmla="*/ 11 h 72"/>
                <a:gd name="T10" fmla="*/ 11 w 125"/>
                <a:gd name="T11" fmla="*/ 30 h 72"/>
                <a:gd name="T12" fmla="*/ 11 w 125"/>
                <a:gd name="T13" fmla="*/ 66 h 72"/>
                <a:gd name="T14" fmla="*/ 5 w 125"/>
                <a:gd name="T15" fmla="*/ 72 h 72"/>
                <a:gd name="T16" fmla="*/ 0 w 125"/>
                <a:gd name="T17" fmla="*/ 66 h 72"/>
                <a:gd name="T18" fmla="*/ 0 w 125"/>
                <a:gd name="T19" fmla="*/ 30 h 72"/>
                <a:gd name="T20" fmla="*/ 31 w 125"/>
                <a:gd name="T21" fmla="*/ 0 h 72"/>
                <a:gd name="T22" fmla="*/ 94 w 125"/>
                <a:gd name="T23" fmla="*/ 0 h 72"/>
                <a:gd name="T24" fmla="*/ 125 w 125"/>
                <a:gd name="T25" fmla="*/ 30 h 72"/>
                <a:gd name="T26" fmla="*/ 125 w 125"/>
                <a:gd name="T27" fmla="*/ 66 h 72"/>
                <a:gd name="T28" fmla="*/ 119 w 125"/>
                <a:gd name="T2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" h="72">
                  <a:moveTo>
                    <a:pt x="119" y="72"/>
                  </a:moveTo>
                  <a:cubicBezTo>
                    <a:pt x="116" y="72"/>
                    <a:pt x="114" y="69"/>
                    <a:pt x="114" y="66"/>
                  </a:cubicBezTo>
                  <a:cubicBezTo>
                    <a:pt x="114" y="30"/>
                    <a:pt x="114" y="30"/>
                    <a:pt x="114" y="30"/>
                  </a:cubicBezTo>
                  <a:cubicBezTo>
                    <a:pt x="114" y="20"/>
                    <a:pt x="105" y="11"/>
                    <a:pt x="94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0" y="11"/>
                    <a:pt x="11" y="20"/>
                    <a:pt x="11" y="30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1" y="69"/>
                    <a:pt x="8" y="72"/>
                    <a:pt x="5" y="72"/>
                  </a:cubicBezTo>
                  <a:cubicBezTo>
                    <a:pt x="2" y="72"/>
                    <a:pt x="0" y="69"/>
                    <a:pt x="0" y="6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11" y="0"/>
                    <a:pt x="125" y="14"/>
                    <a:pt x="125" y="30"/>
                  </a:cubicBezTo>
                  <a:cubicBezTo>
                    <a:pt x="125" y="66"/>
                    <a:pt x="125" y="66"/>
                    <a:pt x="125" y="66"/>
                  </a:cubicBezTo>
                  <a:cubicBezTo>
                    <a:pt x="125" y="69"/>
                    <a:pt x="122" y="72"/>
                    <a:pt x="119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4" name="Freeform 1544">
              <a:extLst>
                <a:ext uri="{FF2B5EF4-FFF2-40B4-BE49-F238E27FC236}">
                  <a16:creationId xmlns:a16="http://schemas.microsoft.com/office/drawing/2014/main" id="{98952D31-BFB9-A855-AC28-435EDF24D8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82967" y="2007534"/>
              <a:ext cx="57150" cy="55562"/>
            </a:xfrm>
            <a:custGeom>
              <a:avLst/>
              <a:gdLst>
                <a:gd name="T0" fmla="*/ 27 w 54"/>
                <a:gd name="T1" fmla="*/ 53 h 53"/>
                <a:gd name="T2" fmla="*/ 0 w 54"/>
                <a:gd name="T3" fmla="*/ 27 h 53"/>
                <a:gd name="T4" fmla="*/ 27 w 54"/>
                <a:gd name="T5" fmla="*/ 0 h 53"/>
                <a:gd name="T6" fmla="*/ 54 w 54"/>
                <a:gd name="T7" fmla="*/ 27 h 53"/>
                <a:gd name="T8" fmla="*/ 27 w 54"/>
                <a:gd name="T9" fmla="*/ 53 h 53"/>
                <a:gd name="T10" fmla="*/ 27 w 54"/>
                <a:gd name="T11" fmla="*/ 11 h 53"/>
                <a:gd name="T12" fmla="*/ 11 w 54"/>
                <a:gd name="T13" fmla="*/ 27 h 53"/>
                <a:gd name="T14" fmla="*/ 27 w 54"/>
                <a:gd name="T15" fmla="*/ 42 h 53"/>
                <a:gd name="T16" fmla="*/ 43 w 54"/>
                <a:gd name="T17" fmla="*/ 27 h 53"/>
                <a:gd name="T18" fmla="*/ 27 w 54"/>
                <a:gd name="T1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3">
                  <a:moveTo>
                    <a:pt x="27" y="53"/>
                  </a:moveTo>
                  <a:cubicBezTo>
                    <a:pt x="13" y="53"/>
                    <a:pt x="0" y="41"/>
                    <a:pt x="0" y="27"/>
                  </a:cubicBezTo>
                  <a:cubicBezTo>
                    <a:pt x="0" y="12"/>
                    <a:pt x="13" y="0"/>
                    <a:pt x="27" y="0"/>
                  </a:cubicBezTo>
                  <a:cubicBezTo>
                    <a:pt x="42" y="0"/>
                    <a:pt x="54" y="12"/>
                    <a:pt x="54" y="27"/>
                  </a:cubicBezTo>
                  <a:cubicBezTo>
                    <a:pt x="54" y="41"/>
                    <a:pt x="42" y="53"/>
                    <a:pt x="27" y="53"/>
                  </a:cubicBezTo>
                  <a:close/>
                  <a:moveTo>
                    <a:pt x="27" y="11"/>
                  </a:moveTo>
                  <a:cubicBezTo>
                    <a:pt x="19" y="11"/>
                    <a:pt x="11" y="18"/>
                    <a:pt x="11" y="27"/>
                  </a:cubicBezTo>
                  <a:cubicBezTo>
                    <a:pt x="11" y="35"/>
                    <a:pt x="19" y="42"/>
                    <a:pt x="27" y="42"/>
                  </a:cubicBezTo>
                  <a:cubicBezTo>
                    <a:pt x="36" y="42"/>
                    <a:pt x="43" y="35"/>
                    <a:pt x="43" y="27"/>
                  </a:cubicBezTo>
                  <a:cubicBezTo>
                    <a:pt x="43" y="18"/>
                    <a:pt x="36" y="11"/>
                    <a:pt x="2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5" name="Freeform 1545">
              <a:extLst>
                <a:ext uri="{FF2B5EF4-FFF2-40B4-BE49-F238E27FC236}">
                  <a16:creationId xmlns:a16="http://schemas.microsoft.com/office/drawing/2014/main" id="{78D78D50-F6A0-54E7-6F3F-16D9114C9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95668" y="2099608"/>
              <a:ext cx="12700" cy="44449"/>
            </a:xfrm>
            <a:custGeom>
              <a:avLst/>
              <a:gdLst>
                <a:gd name="T0" fmla="*/ 6 w 11"/>
                <a:gd name="T1" fmla="*/ 43 h 43"/>
                <a:gd name="T2" fmla="*/ 0 w 11"/>
                <a:gd name="T3" fmla="*/ 37 h 43"/>
                <a:gd name="T4" fmla="*/ 0 w 11"/>
                <a:gd name="T5" fmla="*/ 5 h 43"/>
                <a:gd name="T6" fmla="*/ 6 w 11"/>
                <a:gd name="T7" fmla="*/ 0 h 43"/>
                <a:gd name="T8" fmla="*/ 11 w 11"/>
                <a:gd name="T9" fmla="*/ 5 h 43"/>
                <a:gd name="T10" fmla="*/ 11 w 11"/>
                <a:gd name="T11" fmla="*/ 37 h 43"/>
                <a:gd name="T12" fmla="*/ 6 w 11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3">
                  <a:moveTo>
                    <a:pt x="6" y="43"/>
                  </a:moveTo>
                  <a:cubicBezTo>
                    <a:pt x="3" y="43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9" y="43"/>
                    <a:pt x="6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6" name="Freeform 1546">
              <a:extLst>
                <a:ext uri="{FF2B5EF4-FFF2-40B4-BE49-F238E27FC236}">
                  <a16:creationId xmlns:a16="http://schemas.microsoft.com/office/drawing/2014/main" id="{2378DF6B-B9A2-BB76-D545-B5F44E58F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25818" y="2099608"/>
              <a:ext cx="11113" cy="44449"/>
            </a:xfrm>
            <a:custGeom>
              <a:avLst/>
              <a:gdLst>
                <a:gd name="T0" fmla="*/ 6 w 11"/>
                <a:gd name="T1" fmla="*/ 43 h 43"/>
                <a:gd name="T2" fmla="*/ 0 w 11"/>
                <a:gd name="T3" fmla="*/ 37 h 43"/>
                <a:gd name="T4" fmla="*/ 0 w 11"/>
                <a:gd name="T5" fmla="*/ 5 h 43"/>
                <a:gd name="T6" fmla="*/ 6 w 11"/>
                <a:gd name="T7" fmla="*/ 0 h 43"/>
                <a:gd name="T8" fmla="*/ 11 w 11"/>
                <a:gd name="T9" fmla="*/ 5 h 43"/>
                <a:gd name="T10" fmla="*/ 11 w 11"/>
                <a:gd name="T11" fmla="*/ 37 h 43"/>
                <a:gd name="T12" fmla="*/ 6 w 11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3">
                  <a:moveTo>
                    <a:pt x="6" y="43"/>
                  </a:moveTo>
                  <a:cubicBezTo>
                    <a:pt x="3" y="43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9" y="43"/>
                    <a:pt x="6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7" name="Freeform 1547">
              <a:extLst>
                <a:ext uri="{FF2B5EF4-FFF2-40B4-BE49-F238E27FC236}">
                  <a16:creationId xmlns:a16="http://schemas.microsoft.com/office/drawing/2014/main" id="{882AB417-3334-0F6A-CFAF-AF8FA977D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3767" y="2132944"/>
              <a:ext cx="158750" cy="11113"/>
            </a:xfrm>
            <a:custGeom>
              <a:avLst/>
              <a:gdLst>
                <a:gd name="T0" fmla="*/ 147 w 152"/>
                <a:gd name="T1" fmla="*/ 11 h 11"/>
                <a:gd name="T2" fmla="*/ 6 w 152"/>
                <a:gd name="T3" fmla="*/ 11 h 11"/>
                <a:gd name="T4" fmla="*/ 0 w 152"/>
                <a:gd name="T5" fmla="*/ 5 h 11"/>
                <a:gd name="T6" fmla="*/ 6 w 152"/>
                <a:gd name="T7" fmla="*/ 0 h 11"/>
                <a:gd name="T8" fmla="*/ 147 w 152"/>
                <a:gd name="T9" fmla="*/ 0 h 11"/>
                <a:gd name="T10" fmla="*/ 152 w 152"/>
                <a:gd name="T11" fmla="*/ 5 h 11"/>
                <a:gd name="T12" fmla="*/ 147 w 152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1">
                  <a:moveTo>
                    <a:pt x="147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50" y="0"/>
                    <a:pt x="152" y="2"/>
                    <a:pt x="152" y="5"/>
                  </a:cubicBezTo>
                  <a:cubicBezTo>
                    <a:pt x="152" y="8"/>
                    <a:pt x="150" y="11"/>
                    <a:pt x="14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8" name="Freeform 1548">
              <a:extLst>
                <a:ext uri="{FF2B5EF4-FFF2-40B4-BE49-F238E27FC236}">
                  <a16:creationId xmlns:a16="http://schemas.microsoft.com/office/drawing/2014/main" id="{8D886B80-2ED7-D1EF-A212-61D4206B4A6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30567" y="2069445"/>
              <a:ext cx="130175" cy="74612"/>
            </a:xfrm>
            <a:custGeom>
              <a:avLst/>
              <a:gdLst>
                <a:gd name="T0" fmla="*/ 120 w 126"/>
                <a:gd name="T1" fmla="*/ 72 h 72"/>
                <a:gd name="T2" fmla="*/ 115 w 126"/>
                <a:gd name="T3" fmla="*/ 66 h 72"/>
                <a:gd name="T4" fmla="*/ 115 w 126"/>
                <a:gd name="T5" fmla="*/ 30 h 72"/>
                <a:gd name="T6" fmla="*/ 95 w 126"/>
                <a:gd name="T7" fmla="*/ 11 h 72"/>
                <a:gd name="T8" fmla="*/ 31 w 126"/>
                <a:gd name="T9" fmla="*/ 11 h 72"/>
                <a:gd name="T10" fmla="*/ 11 w 126"/>
                <a:gd name="T11" fmla="*/ 30 h 72"/>
                <a:gd name="T12" fmla="*/ 11 w 126"/>
                <a:gd name="T13" fmla="*/ 66 h 72"/>
                <a:gd name="T14" fmla="*/ 6 w 126"/>
                <a:gd name="T15" fmla="*/ 72 h 72"/>
                <a:gd name="T16" fmla="*/ 0 w 126"/>
                <a:gd name="T17" fmla="*/ 66 h 72"/>
                <a:gd name="T18" fmla="*/ 0 w 126"/>
                <a:gd name="T19" fmla="*/ 30 h 72"/>
                <a:gd name="T20" fmla="*/ 31 w 126"/>
                <a:gd name="T21" fmla="*/ 0 h 72"/>
                <a:gd name="T22" fmla="*/ 95 w 126"/>
                <a:gd name="T23" fmla="*/ 0 h 72"/>
                <a:gd name="T24" fmla="*/ 126 w 126"/>
                <a:gd name="T25" fmla="*/ 30 h 72"/>
                <a:gd name="T26" fmla="*/ 126 w 126"/>
                <a:gd name="T27" fmla="*/ 66 h 72"/>
                <a:gd name="T28" fmla="*/ 120 w 126"/>
                <a:gd name="T2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6" h="72">
                  <a:moveTo>
                    <a:pt x="120" y="72"/>
                  </a:moveTo>
                  <a:cubicBezTo>
                    <a:pt x="117" y="72"/>
                    <a:pt x="115" y="69"/>
                    <a:pt x="115" y="66"/>
                  </a:cubicBezTo>
                  <a:cubicBezTo>
                    <a:pt x="115" y="30"/>
                    <a:pt x="115" y="30"/>
                    <a:pt x="115" y="30"/>
                  </a:cubicBezTo>
                  <a:cubicBezTo>
                    <a:pt x="115" y="20"/>
                    <a:pt x="106" y="11"/>
                    <a:pt x="95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0" y="11"/>
                    <a:pt x="11" y="20"/>
                    <a:pt x="11" y="30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1" y="69"/>
                    <a:pt x="9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112" y="0"/>
                    <a:pt x="126" y="14"/>
                    <a:pt x="126" y="30"/>
                  </a:cubicBezTo>
                  <a:cubicBezTo>
                    <a:pt x="126" y="66"/>
                    <a:pt x="126" y="66"/>
                    <a:pt x="126" y="66"/>
                  </a:cubicBezTo>
                  <a:cubicBezTo>
                    <a:pt x="126" y="69"/>
                    <a:pt x="123" y="72"/>
                    <a:pt x="120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9" name="Freeform 1549">
              <a:extLst>
                <a:ext uri="{FF2B5EF4-FFF2-40B4-BE49-F238E27FC236}">
                  <a16:creationId xmlns:a16="http://schemas.microsoft.com/office/drawing/2014/main" id="{23C6747F-0ADC-4D8D-CD63-1AC3C626C2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194055" y="2007539"/>
              <a:ext cx="57150" cy="55562"/>
            </a:xfrm>
            <a:custGeom>
              <a:avLst/>
              <a:gdLst>
                <a:gd name="T0" fmla="*/ 27 w 54"/>
                <a:gd name="T1" fmla="*/ 53 h 53"/>
                <a:gd name="T2" fmla="*/ 0 w 54"/>
                <a:gd name="T3" fmla="*/ 27 h 53"/>
                <a:gd name="T4" fmla="*/ 27 w 54"/>
                <a:gd name="T5" fmla="*/ 0 h 53"/>
                <a:gd name="T6" fmla="*/ 54 w 54"/>
                <a:gd name="T7" fmla="*/ 27 h 53"/>
                <a:gd name="T8" fmla="*/ 27 w 54"/>
                <a:gd name="T9" fmla="*/ 53 h 53"/>
                <a:gd name="T10" fmla="*/ 27 w 54"/>
                <a:gd name="T11" fmla="*/ 11 h 53"/>
                <a:gd name="T12" fmla="*/ 11 w 54"/>
                <a:gd name="T13" fmla="*/ 27 h 53"/>
                <a:gd name="T14" fmla="*/ 27 w 54"/>
                <a:gd name="T15" fmla="*/ 42 h 53"/>
                <a:gd name="T16" fmla="*/ 43 w 54"/>
                <a:gd name="T17" fmla="*/ 27 h 53"/>
                <a:gd name="T18" fmla="*/ 27 w 54"/>
                <a:gd name="T1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3">
                  <a:moveTo>
                    <a:pt x="27" y="53"/>
                  </a:moveTo>
                  <a:cubicBezTo>
                    <a:pt x="12" y="53"/>
                    <a:pt x="0" y="41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2" y="0"/>
                    <a:pt x="54" y="12"/>
                    <a:pt x="54" y="27"/>
                  </a:cubicBezTo>
                  <a:cubicBezTo>
                    <a:pt x="54" y="41"/>
                    <a:pt x="42" y="53"/>
                    <a:pt x="27" y="53"/>
                  </a:cubicBezTo>
                  <a:close/>
                  <a:moveTo>
                    <a:pt x="27" y="11"/>
                  </a:moveTo>
                  <a:cubicBezTo>
                    <a:pt x="18" y="11"/>
                    <a:pt x="11" y="18"/>
                    <a:pt x="11" y="27"/>
                  </a:cubicBezTo>
                  <a:cubicBezTo>
                    <a:pt x="11" y="35"/>
                    <a:pt x="18" y="42"/>
                    <a:pt x="27" y="42"/>
                  </a:cubicBezTo>
                  <a:cubicBezTo>
                    <a:pt x="36" y="42"/>
                    <a:pt x="43" y="35"/>
                    <a:pt x="43" y="27"/>
                  </a:cubicBezTo>
                  <a:cubicBezTo>
                    <a:pt x="43" y="18"/>
                    <a:pt x="36" y="11"/>
                    <a:pt x="2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0" name="Freeform 1550">
              <a:extLst>
                <a:ext uri="{FF2B5EF4-FFF2-40B4-BE49-F238E27FC236}">
                  <a16:creationId xmlns:a16="http://schemas.microsoft.com/office/drawing/2014/main" id="{E6BCF6D7-6F28-493D-82FF-87453C5AA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05167" y="2099612"/>
              <a:ext cx="11113" cy="44450"/>
            </a:xfrm>
            <a:custGeom>
              <a:avLst/>
              <a:gdLst>
                <a:gd name="T0" fmla="*/ 5 w 11"/>
                <a:gd name="T1" fmla="*/ 43 h 43"/>
                <a:gd name="T2" fmla="*/ 0 w 11"/>
                <a:gd name="T3" fmla="*/ 37 h 43"/>
                <a:gd name="T4" fmla="*/ 0 w 11"/>
                <a:gd name="T5" fmla="*/ 5 h 43"/>
                <a:gd name="T6" fmla="*/ 5 w 11"/>
                <a:gd name="T7" fmla="*/ 0 h 43"/>
                <a:gd name="T8" fmla="*/ 11 w 11"/>
                <a:gd name="T9" fmla="*/ 5 h 43"/>
                <a:gd name="T10" fmla="*/ 11 w 11"/>
                <a:gd name="T11" fmla="*/ 37 h 43"/>
                <a:gd name="T12" fmla="*/ 5 w 11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3">
                  <a:moveTo>
                    <a:pt x="5" y="43"/>
                  </a:moveTo>
                  <a:cubicBezTo>
                    <a:pt x="2" y="43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9" y="43"/>
                    <a:pt x="5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1" name="Freeform 1551">
              <a:extLst>
                <a:ext uri="{FF2B5EF4-FFF2-40B4-BE49-F238E27FC236}">
                  <a16:creationId xmlns:a16="http://schemas.microsoft.com/office/drawing/2014/main" id="{11536917-3CF8-D7FA-1822-8E57C772A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36905" y="2099612"/>
              <a:ext cx="12700" cy="44450"/>
            </a:xfrm>
            <a:custGeom>
              <a:avLst/>
              <a:gdLst>
                <a:gd name="T0" fmla="*/ 5 w 11"/>
                <a:gd name="T1" fmla="*/ 43 h 43"/>
                <a:gd name="T2" fmla="*/ 0 w 11"/>
                <a:gd name="T3" fmla="*/ 37 h 43"/>
                <a:gd name="T4" fmla="*/ 0 w 11"/>
                <a:gd name="T5" fmla="*/ 5 h 43"/>
                <a:gd name="T6" fmla="*/ 5 w 11"/>
                <a:gd name="T7" fmla="*/ 0 h 43"/>
                <a:gd name="T8" fmla="*/ 11 w 11"/>
                <a:gd name="T9" fmla="*/ 5 h 43"/>
                <a:gd name="T10" fmla="*/ 11 w 11"/>
                <a:gd name="T11" fmla="*/ 37 h 43"/>
                <a:gd name="T12" fmla="*/ 5 w 11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3">
                  <a:moveTo>
                    <a:pt x="5" y="43"/>
                  </a:moveTo>
                  <a:cubicBezTo>
                    <a:pt x="2" y="43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8" y="43"/>
                    <a:pt x="5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2" name="Freeform 1552">
              <a:extLst>
                <a:ext uri="{FF2B5EF4-FFF2-40B4-BE49-F238E27FC236}">
                  <a16:creationId xmlns:a16="http://schemas.microsoft.com/office/drawing/2014/main" id="{A7F26642-0403-4257-4888-BD8A0246EB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44855" y="2132949"/>
              <a:ext cx="158750" cy="11113"/>
            </a:xfrm>
            <a:custGeom>
              <a:avLst/>
              <a:gdLst>
                <a:gd name="T0" fmla="*/ 147 w 152"/>
                <a:gd name="T1" fmla="*/ 11 h 11"/>
                <a:gd name="T2" fmla="*/ 5 w 152"/>
                <a:gd name="T3" fmla="*/ 11 h 11"/>
                <a:gd name="T4" fmla="*/ 0 w 152"/>
                <a:gd name="T5" fmla="*/ 5 h 11"/>
                <a:gd name="T6" fmla="*/ 5 w 152"/>
                <a:gd name="T7" fmla="*/ 0 h 11"/>
                <a:gd name="T8" fmla="*/ 147 w 152"/>
                <a:gd name="T9" fmla="*/ 0 h 11"/>
                <a:gd name="T10" fmla="*/ 152 w 152"/>
                <a:gd name="T11" fmla="*/ 5 h 11"/>
                <a:gd name="T12" fmla="*/ 147 w 152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1">
                  <a:moveTo>
                    <a:pt x="147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50" y="0"/>
                    <a:pt x="152" y="2"/>
                    <a:pt x="152" y="5"/>
                  </a:cubicBezTo>
                  <a:cubicBezTo>
                    <a:pt x="152" y="8"/>
                    <a:pt x="150" y="11"/>
                    <a:pt x="14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3" name="Freeform 1553">
              <a:extLst>
                <a:ext uri="{FF2B5EF4-FFF2-40B4-BE49-F238E27FC236}">
                  <a16:creationId xmlns:a16="http://schemas.microsoft.com/office/drawing/2014/main" id="{453BE06D-7E63-45A0-4C16-978235A7D0B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08393" y="2069450"/>
              <a:ext cx="130175" cy="74612"/>
            </a:xfrm>
            <a:custGeom>
              <a:avLst/>
              <a:gdLst>
                <a:gd name="T0" fmla="*/ 120 w 125"/>
                <a:gd name="T1" fmla="*/ 72 h 72"/>
                <a:gd name="T2" fmla="*/ 114 w 125"/>
                <a:gd name="T3" fmla="*/ 66 h 72"/>
                <a:gd name="T4" fmla="*/ 114 w 125"/>
                <a:gd name="T5" fmla="*/ 30 h 72"/>
                <a:gd name="T6" fmla="*/ 95 w 125"/>
                <a:gd name="T7" fmla="*/ 11 h 72"/>
                <a:gd name="T8" fmla="*/ 31 w 125"/>
                <a:gd name="T9" fmla="*/ 11 h 72"/>
                <a:gd name="T10" fmla="*/ 11 w 125"/>
                <a:gd name="T11" fmla="*/ 30 h 72"/>
                <a:gd name="T12" fmla="*/ 11 w 125"/>
                <a:gd name="T13" fmla="*/ 66 h 72"/>
                <a:gd name="T14" fmla="*/ 6 w 125"/>
                <a:gd name="T15" fmla="*/ 72 h 72"/>
                <a:gd name="T16" fmla="*/ 0 w 125"/>
                <a:gd name="T17" fmla="*/ 66 h 72"/>
                <a:gd name="T18" fmla="*/ 0 w 125"/>
                <a:gd name="T19" fmla="*/ 30 h 72"/>
                <a:gd name="T20" fmla="*/ 31 w 125"/>
                <a:gd name="T21" fmla="*/ 0 h 72"/>
                <a:gd name="T22" fmla="*/ 95 w 125"/>
                <a:gd name="T23" fmla="*/ 0 h 72"/>
                <a:gd name="T24" fmla="*/ 125 w 125"/>
                <a:gd name="T25" fmla="*/ 30 h 72"/>
                <a:gd name="T26" fmla="*/ 125 w 125"/>
                <a:gd name="T27" fmla="*/ 66 h 72"/>
                <a:gd name="T28" fmla="*/ 120 w 125"/>
                <a:gd name="T2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" h="72">
                  <a:moveTo>
                    <a:pt x="120" y="72"/>
                  </a:moveTo>
                  <a:cubicBezTo>
                    <a:pt x="117" y="72"/>
                    <a:pt x="114" y="69"/>
                    <a:pt x="114" y="66"/>
                  </a:cubicBezTo>
                  <a:cubicBezTo>
                    <a:pt x="114" y="30"/>
                    <a:pt x="114" y="30"/>
                    <a:pt x="114" y="30"/>
                  </a:cubicBezTo>
                  <a:cubicBezTo>
                    <a:pt x="114" y="20"/>
                    <a:pt x="105" y="11"/>
                    <a:pt x="95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0" y="11"/>
                    <a:pt x="11" y="20"/>
                    <a:pt x="11" y="30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1" y="69"/>
                    <a:pt x="9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111" y="0"/>
                    <a:pt x="125" y="14"/>
                    <a:pt x="125" y="30"/>
                  </a:cubicBezTo>
                  <a:cubicBezTo>
                    <a:pt x="125" y="66"/>
                    <a:pt x="125" y="66"/>
                    <a:pt x="125" y="66"/>
                  </a:cubicBezTo>
                  <a:cubicBezTo>
                    <a:pt x="125" y="69"/>
                    <a:pt x="123" y="72"/>
                    <a:pt x="120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4" name="Freeform 1554">
              <a:extLst>
                <a:ext uri="{FF2B5EF4-FFF2-40B4-BE49-F238E27FC236}">
                  <a16:creationId xmlns:a16="http://schemas.microsoft.com/office/drawing/2014/main" id="{0C63E81E-1DAB-1D1C-DBAB-BD018F98B6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70293" y="2007542"/>
              <a:ext cx="55563" cy="55562"/>
            </a:xfrm>
            <a:custGeom>
              <a:avLst/>
              <a:gdLst>
                <a:gd name="T0" fmla="*/ 27 w 54"/>
                <a:gd name="T1" fmla="*/ 53 h 53"/>
                <a:gd name="T2" fmla="*/ 0 w 54"/>
                <a:gd name="T3" fmla="*/ 27 h 53"/>
                <a:gd name="T4" fmla="*/ 27 w 54"/>
                <a:gd name="T5" fmla="*/ 0 h 53"/>
                <a:gd name="T6" fmla="*/ 54 w 54"/>
                <a:gd name="T7" fmla="*/ 27 h 53"/>
                <a:gd name="T8" fmla="*/ 27 w 54"/>
                <a:gd name="T9" fmla="*/ 53 h 53"/>
                <a:gd name="T10" fmla="*/ 27 w 54"/>
                <a:gd name="T11" fmla="*/ 11 h 53"/>
                <a:gd name="T12" fmla="*/ 11 w 54"/>
                <a:gd name="T13" fmla="*/ 27 h 53"/>
                <a:gd name="T14" fmla="*/ 27 w 54"/>
                <a:gd name="T15" fmla="*/ 42 h 53"/>
                <a:gd name="T16" fmla="*/ 43 w 54"/>
                <a:gd name="T17" fmla="*/ 27 h 53"/>
                <a:gd name="T18" fmla="*/ 27 w 54"/>
                <a:gd name="T1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3">
                  <a:moveTo>
                    <a:pt x="27" y="53"/>
                  </a:moveTo>
                  <a:cubicBezTo>
                    <a:pt x="12" y="53"/>
                    <a:pt x="0" y="41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2" y="0"/>
                    <a:pt x="54" y="12"/>
                    <a:pt x="54" y="27"/>
                  </a:cubicBezTo>
                  <a:cubicBezTo>
                    <a:pt x="54" y="41"/>
                    <a:pt x="42" y="53"/>
                    <a:pt x="27" y="53"/>
                  </a:cubicBezTo>
                  <a:close/>
                  <a:moveTo>
                    <a:pt x="27" y="11"/>
                  </a:moveTo>
                  <a:cubicBezTo>
                    <a:pt x="18" y="11"/>
                    <a:pt x="11" y="18"/>
                    <a:pt x="11" y="27"/>
                  </a:cubicBezTo>
                  <a:cubicBezTo>
                    <a:pt x="11" y="35"/>
                    <a:pt x="18" y="42"/>
                    <a:pt x="27" y="42"/>
                  </a:cubicBezTo>
                  <a:cubicBezTo>
                    <a:pt x="35" y="42"/>
                    <a:pt x="43" y="35"/>
                    <a:pt x="43" y="27"/>
                  </a:cubicBezTo>
                  <a:cubicBezTo>
                    <a:pt x="43" y="18"/>
                    <a:pt x="35" y="11"/>
                    <a:pt x="2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5" name="Freeform 1555">
              <a:extLst>
                <a:ext uri="{FF2B5EF4-FFF2-40B4-BE49-F238E27FC236}">
                  <a16:creationId xmlns:a16="http://schemas.microsoft.com/office/drawing/2014/main" id="{89814EC3-FC84-E900-AFE8-6258FBE49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82993" y="2099616"/>
              <a:ext cx="11113" cy="44450"/>
            </a:xfrm>
            <a:custGeom>
              <a:avLst/>
              <a:gdLst>
                <a:gd name="T0" fmla="*/ 5 w 11"/>
                <a:gd name="T1" fmla="*/ 43 h 43"/>
                <a:gd name="T2" fmla="*/ 0 w 11"/>
                <a:gd name="T3" fmla="*/ 37 h 43"/>
                <a:gd name="T4" fmla="*/ 0 w 11"/>
                <a:gd name="T5" fmla="*/ 5 h 43"/>
                <a:gd name="T6" fmla="*/ 5 w 11"/>
                <a:gd name="T7" fmla="*/ 0 h 43"/>
                <a:gd name="T8" fmla="*/ 11 w 11"/>
                <a:gd name="T9" fmla="*/ 5 h 43"/>
                <a:gd name="T10" fmla="*/ 11 w 11"/>
                <a:gd name="T11" fmla="*/ 37 h 43"/>
                <a:gd name="T12" fmla="*/ 5 w 11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3">
                  <a:moveTo>
                    <a:pt x="5" y="43"/>
                  </a:moveTo>
                  <a:cubicBezTo>
                    <a:pt x="2" y="43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8" y="43"/>
                    <a:pt x="5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6" name="Freeform 1556">
              <a:extLst>
                <a:ext uri="{FF2B5EF4-FFF2-40B4-BE49-F238E27FC236}">
                  <a16:creationId xmlns:a16="http://schemas.microsoft.com/office/drawing/2014/main" id="{2D4A21B0-F9C8-D6D3-2341-59309555D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3143" y="2099603"/>
              <a:ext cx="11113" cy="44449"/>
            </a:xfrm>
            <a:custGeom>
              <a:avLst/>
              <a:gdLst>
                <a:gd name="T0" fmla="*/ 5 w 11"/>
                <a:gd name="T1" fmla="*/ 43 h 43"/>
                <a:gd name="T2" fmla="*/ 0 w 11"/>
                <a:gd name="T3" fmla="*/ 37 h 43"/>
                <a:gd name="T4" fmla="*/ 0 w 11"/>
                <a:gd name="T5" fmla="*/ 5 h 43"/>
                <a:gd name="T6" fmla="*/ 5 w 11"/>
                <a:gd name="T7" fmla="*/ 0 h 43"/>
                <a:gd name="T8" fmla="*/ 11 w 11"/>
                <a:gd name="T9" fmla="*/ 5 h 43"/>
                <a:gd name="T10" fmla="*/ 11 w 11"/>
                <a:gd name="T11" fmla="*/ 37 h 43"/>
                <a:gd name="T12" fmla="*/ 5 w 11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3">
                  <a:moveTo>
                    <a:pt x="5" y="43"/>
                  </a:moveTo>
                  <a:cubicBezTo>
                    <a:pt x="2" y="43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8" y="43"/>
                    <a:pt x="5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7" name="Freeform 1557">
              <a:extLst>
                <a:ext uri="{FF2B5EF4-FFF2-40B4-BE49-F238E27FC236}">
                  <a16:creationId xmlns:a16="http://schemas.microsoft.com/office/drawing/2014/main" id="{EF46EF16-97FF-9658-AB17-8DE840CF406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21087" y="2132980"/>
              <a:ext cx="157163" cy="11113"/>
            </a:xfrm>
            <a:custGeom>
              <a:avLst/>
              <a:gdLst>
                <a:gd name="T0" fmla="*/ 146 w 152"/>
                <a:gd name="T1" fmla="*/ 11 h 11"/>
                <a:gd name="T2" fmla="*/ 5 w 152"/>
                <a:gd name="T3" fmla="*/ 11 h 11"/>
                <a:gd name="T4" fmla="*/ 0 w 152"/>
                <a:gd name="T5" fmla="*/ 5 h 11"/>
                <a:gd name="T6" fmla="*/ 5 w 152"/>
                <a:gd name="T7" fmla="*/ 0 h 11"/>
                <a:gd name="T8" fmla="*/ 146 w 152"/>
                <a:gd name="T9" fmla="*/ 0 h 11"/>
                <a:gd name="T10" fmla="*/ 152 w 152"/>
                <a:gd name="T11" fmla="*/ 5 h 11"/>
                <a:gd name="T12" fmla="*/ 146 w 152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1">
                  <a:moveTo>
                    <a:pt x="146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49" y="0"/>
                    <a:pt x="152" y="2"/>
                    <a:pt x="152" y="5"/>
                  </a:cubicBezTo>
                  <a:cubicBezTo>
                    <a:pt x="152" y="8"/>
                    <a:pt x="149" y="11"/>
                    <a:pt x="14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68" name="Shape58_20200717_142846">
            <a:extLst>
              <a:ext uri="{FF2B5EF4-FFF2-40B4-BE49-F238E27FC236}">
                <a16:creationId xmlns:a16="http://schemas.microsoft.com/office/drawing/2014/main" id="{A7A1A0A7-CAB3-73CA-E829-A979F8F89FAF}"/>
              </a:ext>
            </a:extLst>
          </p:cNvPr>
          <p:cNvGrpSpPr>
            <a:grpSpLocks noChangeAspect="1"/>
          </p:cNvGrpSpPr>
          <p:nvPr/>
        </p:nvGrpSpPr>
        <p:grpSpPr>
          <a:xfrm>
            <a:off x="9590475" y="2588013"/>
            <a:ext cx="844392" cy="482176"/>
            <a:chOff x="-1423981" y="2591778"/>
            <a:chExt cx="558798" cy="319095"/>
          </a:xfrm>
          <a:solidFill>
            <a:schemeClr val="accent1"/>
          </a:solidFill>
        </p:grpSpPr>
        <p:sp>
          <p:nvSpPr>
            <p:cNvPr id="369" name="Freeform 1579">
              <a:extLst>
                <a:ext uri="{FF2B5EF4-FFF2-40B4-BE49-F238E27FC236}">
                  <a16:creationId xmlns:a16="http://schemas.microsoft.com/office/drawing/2014/main" id="{0450CFB1-375C-CC32-E558-85FD0FD0A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23981" y="2591778"/>
              <a:ext cx="363536" cy="269876"/>
            </a:xfrm>
            <a:custGeom>
              <a:avLst/>
              <a:gdLst>
                <a:gd name="T0" fmla="*/ 325 w 351"/>
                <a:gd name="T1" fmla="*/ 259 h 259"/>
                <a:gd name="T2" fmla="*/ 26 w 351"/>
                <a:gd name="T3" fmla="*/ 259 h 259"/>
                <a:gd name="T4" fmla="*/ 0 w 351"/>
                <a:gd name="T5" fmla="*/ 232 h 259"/>
                <a:gd name="T6" fmla="*/ 0 w 351"/>
                <a:gd name="T7" fmla="*/ 26 h 259"/>
                <a:gd name="T8" fmla="*/ 26 w 351"/>
                <a:gd name="T9" fmla="*/ 0 h 259"/>
                <a:gd name="T10" fmla="*/ 325 w 351"/>
                <a:gd name="T11" fmla="*/ 0 h 259"/>
                <a:gd name="T12" fmla="*/ 351 w 351"/>
                <a:gd name="T13" fmla="*/ 26 h 259"/>
                <a:gd name="T14" fmla="*/ 351 w 351"/>
                <a:gd name="T15" fmla="*/ 180 h 259"/>
                <a:gd name="T16" fmla="*/ 346 w 351"/>
                <a:gd name="T17" fmla="*/ 185 h 259"/>
                <a:gd name="T18" fmla="*/ 340 w 351"/>
                <a:gd name="T19" fmla="*/ 180 h 259"/>
                <a:gd name="T20" fmla="*/ 340 w 351"/>
                <a:gd name="T21" fmla="*/ 26 h 259"/>
                <a:gd name="T22" fmla="*/ 325 w 351"/>
                <a:gd name="T23" fmla="*/ 11 h 259"/>
                <a:gd name="T24" fmla="*/ 26 w 351"/>
                <a:gd name="T25" fmla="*/ 11 h 259"/>
                <a:gd name="T26" fmla="*/ 11 w 351"/>
                <a:gd name="T27" fmla="*/ 26 h 259"/>
                <a:gd name="T28" fmla="*/ 11 w 351"/>
                <a:gd name="T29" fmla="*/ 232 h 259"/>
                <a:gd name="T30" fmla="*/ 26 w 351"/>
                <a:gd name="T31" fmla="*/ 248 h 259"/>
                <a:gd name="T32" fmla="*/ 325 w 351"/>
                <a:gd name="T33" fmla="*/ 248 h 259"/>
                <a:gd name="T34" fmla="*/ 340 w 351"/>
                <a:gd name="T35" fmla="*/ 232 h 259"/>
                <a:gd name="T36" fmla="*/ 340 w 351"/>
                <a:gd name="T37" fmla="*/ 219 h 259"/>
                <a:gd name="T38" fmla="*/ 346 w 351"/>
                <a:gd name="T39" fmla="*/ 214 h 259"/>
                <a:gd name="T40" fmla="*/ 351 w 351"/>
                <a:gd name="T41" fmla="*/ 219 h 259"/>
                <a:gd name="T42" fmla="*/ 351 w 351"/>
                <a:gd name="T43" fmla="*/ 232 h 259"/>
                <a:gd name="T44" fmla="*/ 325 w 351"/>
                <a:gd name="T45" fmla="*/ 25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1" h="259">
                  <a:moveTo>
                    <a:pt x="325" y="259"/>
                  </a:moveTo>
                  <a:cubicBezTo>
                    <a:pt x="26" y="259"/>
                    <a:pt x="26" y="259"/>
                    <a:pt x="26" y="259"/>
                  </a:cubicBezTo>
                  <a:cubicBezTo>
                    <a:pt x="12" y="259"/>
                    <a:pt x="0" y="247"/>
                    <a:pt x="0" y="23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325" y="0"/>
                    <a:pt x="325" y="0"/>
                    <a:pt x="325" y="0"/>
                  </a:cubicBezTo>
                  <a:cubicBezTo>
                    <a:pt x="339" y="0"/>
                    <a:pt x="351" y="12"/>
                    <a:pt x="351" y="26"/>
                  </a:cubicBezTo>
                  <a:cubicBezTo>
                    <a:pt x="351" y="180"/>
                    <a:pt x="351" y="180"/>
                    <a:pt x="351" y="180"/>
                  </a:cubicBezTo>
                  <a:cubicBezTo>
                    <a:pt x="351" y="183"/>
                    <a:pt x="349" y="185"/>
                    <a:pt x="346" y="185"/>
                  </a:cubicBezTo>
                  <a:cubicBezTo>
                    <a:pt x="343" y="185"/>
                    <a:pt x="340" y="183"/>
                    <a:pt x="340" y="180"/>
                  </a:cubicBezTo>
                  <a:cubicBezTo>
                    <a:pt x="340" y="26"/>
                    <a:pt x="340" y="26"/>
                    <a:pt x="340" y="26"/>
                  </a:cubicBezTo>
                  <a:cubicBezTo>
                    <a:pt x="340" y="18"/>
                    <a:pt x="333" y="11"/>
                    <a:pt x="325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18" y="11"/>
                    <a:pt x="11" y="18"/>
                    <a:pt x="11" y="26"/>
                  </a:cubicBezTo>
                  <a:cubicBezTo>
                    <a:pt x="11" y="232"/>
                    <a:pt x="11" y="232"/>
                    <a:pt x="11" y="232"/>
                  </a:cubicBezTo>
                  <a:cubicBezTo>
                    <a:pt x="11" y="241"/>
                    <a:pt x="18" y="248"/>
                    <a:pt x="26" y="248"/>
                  </a:cubicBezTo>
                  <a:cubicBezTo>
                    <a:pt x="325" y="248"/>
                    <a:pt x="325" y="248"/>
                    <a:pt x="325" y="248"/>
                  </a:cubicBezTo>
                  <a:cubicBezTo>
                    <a:pt x="333" y="248"/>
                    <a:pt x="340" y="241"/>
                    <a:pt x="340" y="232"/>
                  </a:cubicBezTo>
                  <a:cubicBezTo>
                    <a:pt x="340" y="219"/>
                    <a:pt x="340" y="219"/>
                    <a:pt x="340" y="219"/>
                  </a:cubicBezTo>
                  <a:cubicBezTo>
                    <a:pt x="340" y="216"/>
                    <a:pt x="343" y="214"/>
                    <a:pt x="346" y="214"/>
                  </a:cubicBezTo>
                  <a:cubicBezTo>
                    <a:pt x="349" y="214"/>
                    <a:pt x="351" y="216"/>
                    <a:pt x="351" y="219"/>
                  </a:cubicBezTo>
                  <a:cubicBezTo>
                    <a:pt x="351" y="232"/>
                    <a:pt x="351" y="232"/>
                    <a:pt x="351" y="232"/>
                  </a:cubicBezTo>
                  <a:cubicBezTo>
                    <a:pt x="351" y="247"/>
                    <a:pt x="339" y="259"/>
                    <a:pt x="325" y="25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0" name="Freeform 1580">
              <a:extLst>
                <a:ext uri="{FF2B5EF4-FFF2-40B4-BE49-F238E27FC236}">
                  <a16:creationId xmlns:a16="http://schemas.microsoft.com/office/drawing/2014/main" id="{77E288A4-9716-BC1A-0CA3-EC98B1EC5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4132" y="2850541"/>
              <a:ext cx="11113" cy="60325"/>
            </a:xfrm>
            <a:custGeom>
              <a:avLst/>
              <a:gdLst>
                <a:gd name="T0" fmla="*/ 6 w 11"/>
                <a:gd name="T1" fmla="*/ 58 h 58"/>
                <a:gd name="T2" fmla="*/ 0 w 11"/>
                <a:gd name="T3" fmla="*/ 52 h 58"/>
                <a:gd name="T4" fmla="*/ 0 w 11"/>
                <a:gd name="T5" fmla="*/ 5 h 58"/>
                <a:gd name="T6" fmla="*/ 6 w 11"/>
                <a:gd name="T7" fmla="*/ 0 h 58"/>
                <a:gd name="T8" fmla="*/ 11 w 11"/>
                <a:gd name="T9" fmla="*/ 5 h 58"/>
                <a:gd name="T10" fmla="*/ 11 w 11"/>
                <a:gd name="T11" fmla="*/ 52 h 58"/>
                <a:gd name="T12" fmla="*/ 6 w 11"/>
                <a:gd name="T13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58">
                  <a:moveTo>
                    <a:pt x="6" y="58"/>
                  </a:moveTo>
                  <a:cubicBezTo>
                    <a:pt x="3" y="58"/>
                    <a:pt x="0" y="56"/>
                    <a:pt x="0" y="5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6"/>
                    <a:pt x="9" y="58"/>
                    <a:pt x="6" y="5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1" name="Freeform 1581">
              <a:extLst>
                <a:ext uri="{FF2B5EF4-FFF2-40B4-BE49-F238E27FC236}">
                  <a16:creationId xmlns:a16="http://schemas.microsoft.com/office/drawing/2014/main" id="{EB702C01-4696-9C98-3AB9-EEC4A3CE5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41407" y="2850541"/>
              <a:ext cx="12700" cy="60325"/>
            </a:xfrm>
            <a:custGeom>
              <a:avLst/>
              <a:gdLst>
                <a:gd name="T0" fmla="*/ 5 w 11"/>
                <a:gd name="T1" fmla="*/ 58 h 58"/>
                <a:gd name="T2" fmla="*/ 0 w 11"/>
                <a:gd name="T3" fmla="*/ 52 h 58"/>
                <a:gd name="T4" fmla="*/ 0 w 11"/>
                <a:gd name="T5" fmla="*/ 5 h 58"/>
                <a:gd name="T6" fmla="*/ 5 w 11"/>
                <a:gd name="T7" fmla="*/ 0 h 58"/>
                <a:gd name="T8" fmla="*/ 11 w 11"/>
                <a:gd name="T9" fmla="*/ 5 h 58"/>
                <a:gd name="T10" fmla="*/ 11 w 11"/>
                <a:gd name="T11" fmla="*/ 52 h 58"/>
                <a:gd name="T12" fmla="*/ 5 w 11"/>
                <a:gd name="T13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58">
                  <a:moveTo>
                    <a:pt x="5" y="58"/>
                  </a:moveTo>
                  <a:cubicBezTo>
                    <a:pt x="2" y="58"/>
                    <a:pt x="0" y="56"/>
                    <a:pt x="0" y="5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6"/>
                    <a:pt x="8" y="58"/>
                    <a:pt x="5" y="5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2" name="Freeform 1582">
              <a:extLst>
                <a:ext uri="{FF2B5EF4-FFF2-40B4-BE49-F238E27FC236}">
                  <a16:creationId xmlns:a16="http://schemas.microsoft.com/office/drawing/2014/main" id="{0A21DC30-CD71-0D85-D33F-B42A972DB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79507" y="2899754"/>
              <a:ext cx="88900" cy="11113"/>
            </a:xfrm>
            <a:custGeom>
              <a:avLst/>
              <a:gdLst>
                <a:gd name="T0" fmla="*/ 81 w 86"/>
                <a:gd name="T1" fmla="*/ 11 h 11"/>
                <a:gd name="T2" fmla="*/ 6 w 86"/>
                <a:gd name="T3" fmla="*/ 11 h 11"/>
                <a:gd name="T4" fmla="*/ 0 w 86"/>
                <a:gd name="T5" fmla="*/ 5 h 11"/>
                <a:gd name="T6" fmla="*/ 6 w 86"/>
                <a:gd name="T7" fmla="*/ 0 h 11"/>
                <a:gd name="T8" fmla="*/ 81 w 86"/>
                <a:gd name="T9" fmla="*/ 0 h 11"/>
                <a:gd name="T10" fmla="*/ 86 w 86"/>
                <a:gd name="T11" fmla="*/ 5 h 11"/>
                <a:gd name="T12" fmla="*/ 81 w 86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11">
                  <a:moveTo>
                    <a:pt x="81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6" y="2"/>
                    <a:pt x="86" y="5"/>
                  </a:cubicBezTo>
                  <a:cubicBezTo>
                    <a:pt x="86" y="8"/>
                    <a:pt x="84" y="11"/>
                    <a:pt x="8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3" name="Freeform 1583">
              <a:extLst>
                <a:ext uri="{FF2B5EF4-FFF2-40B4-BE49-F238E27FC236}">
                  <a16:creationId xmlns:a16="http://schemas.microsoft.com/office/drawing/2014/main" id="{5323840E-4358-84A9-759E-FEA976D7BD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93819" y="2899754"/>
              <a:ext cx="90488" cy="11113"/>
            </a:xfrm>
            <a:custGeom>
              <a:avLst/>
              <a:gdLst>
                <a:gd name="T0" fmla="*/ 80 w 86"/>
                <a:gd name="T1" fmla="*/ 11 h 11"/>
                <a:gd name="T2" fmla="*/ 5 w 86"/>
                <a:gd name="T3" fmla="*/ 11 h 11"/>
                <a:gd name="T4" fmla="*/ 0 w 86"/>
                <a:gd name="T5" fmla="*/ 5 h 11"/>
                <a:gd name="T6" fmla="*/ 5 w 86"/>
                <a:gd name="T7" fmla="*/ 0 h 11"/>
                <a:gd name="T8" fmla="*/ 80 w 86"/>
                <a:gd name="T9" fmla="*/ 0 h 11"/>
                <a:gd name="T10" fmla="*/ 86 w 86"/>
                <a:gd name="T11" fmla="*/ 5 h 11"/>
                <a:gd name="T12" fmla="*/ 80 w 86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11">
                  <a:moveTo>
                    <a:pt x="80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3" y="0"/>
                    <a:pt x="86" y="2"/>
                    <a:pt x="86" y="5"/>
                  </a:cubicBezTo>
                  <a:cubicBezTo>
                    <a:pt x="86" y="8"/>
                    <a:pt x="83" y="11"/>
                    <a:pt x="8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4" name="Freeform 1584">
              <a:extLst>
                <a:ext uri="{FF2B5EF4-FFF2-40B4-BE49-F238E27FC236}">
                  <a16:creationId xmlns:a16="http://schemas.microsoft.com/office/drawing/2014/main" id="{68687379-C800-E065-6DFF-E9DCC2B0424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71582" y="2669566"/>
              <a:ext cx="58738" cy="84138"/>
            </a:xfrm>
            <a:custGeom>
              <a:avLst/>
              <a:gdLst>
                <a:gd name="T0" fmla="*/ 28 w 57"/>
                <a:gd name="T1" fmla="*/ 81 h 81"/>
                <a:gd name="T2" fmla="*/ 2 w 57"/>
                <a:gd name="T3" fmla="*/ 68 h 81"/>
                <a:gd name="T4" fmla="*/ 3 w 57"/>
                <a:gd name="T5" fmla="*/ 61 h 81"/>
                <a:gd name="T6" fmla="*/ 11 w 57"/>
                <a:gd name="T7" fmla="*/ 62 h 81"/>
                <a:gd name="T8" fmla="*/ 39 w 57"/>
                <a:gd name="T9" fmla="*/ 68 h 81"/>
                <a:gd name="T10" fmla="*/ 39 w 57"/>
                <a:gd name="T11" fmla="*/ 68 h 81"/>
                <a:gd name="T12" fmla="*/ 45 w 57"/>
                <a:gd name="T13" fmla="*/ 58 h 81"/>
                <a:gd name="T14" fmla="*/ 36 w 57"/>
                <a:gd name="T15" fmla="*/ 47 h 81"/>
                <a:gd name="T16" fmla="*/ 18 w 57"/>
                <a:gd name="T17" fmla="*/ 42 h 81"/>
                <a:gd name="T18" fmla="*/ 2 w 57"/>
                <a:gd name="T19" fmla="*/ 21 h 81"/>
                <a:gd name="T20" fmla="*/ 8 w 57"/>
                <a:gd name="T21" fmla="*/ 7 h 81"/>
                <a:gd name="T22" fmla="*/ 29 w 57"/>
                <a:gd name="T23" fmla="*/ 1 h 81"/>
                <a:gd name="T24" fmla="*/ 56 w 57"/>
                <a:gd name="T25" fmla="*/ 19 h 81"/>
                <a:gd name="T26" fmla="*/ 52 w 57"/>
                <a:gd name="T27" fmla="*/ 26 h 81"/>
                <a:gd name="T28" fmla="*/ 45 w 57"/>
                <a:gd name="T29" fmla="*/ 22 h 81"/>
                <a:gd name="T30" fmla="*/ 29 w 57"/>
                <a:gd name="T31" fmla="*/ 12 h 81"/>
                <a:gd name="T32" fmla="*/ 15 w 57"/>
                <a:gd name="T33" fmla="*/ 15 h 81"/>
                <a:gd name="T34" fmla="*/ 13 w 57"/>
                <a:gd name="T35" fmla="*/ 21 h 81"/>
                <a:gd name="T36" fmla="*/ 21 w 57"/>
                <a:gd name="T37" fmla="*/ 31 h 81"/>
                <a:gd name="T38" fmla="*/ 39 w 57"/>
                <a:gd name="T39" fmla="*/ 37 h 81"/>
                <a:gd name="T40" fmla="*/ 56 w 57"/>
                <a:gd name="T41" fmla="*/ 57 h 81"/>
                <a:gd name="T42" fmla="*/ 44 w 57"/>
                <a:gd name="T43" fmla="*/ 78 h 81"/>
                <a:gd name="T44" fmla="*/ 28 w 57"/>
                <a:gd name="T45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7" h="81">
                  <a:moveTo>
                    <a:pt x="28" y="81"/>
                  </a:moveTo>
                  <a:cubicBezTo>
                    <a:pt x="20" y="81"/>
                    <a:pt x="10" y="78"/>
                    <a:pt x="2" y="68"/>
                  </a:cubicBezTo>
                  <a:cubicBezTo>
                    <a:pt x="0" y="66"/>
                    <a:pt x="1" y="63"/>
                    <a:pt x="3" y="61"/>
                  </a:cubicBezTo>
                  <a:cubicBezTo>
                    <a:pt x="6" y="59"/>
                    <a:pt x="9" y="59"/>
                    <a:pt x="11" y="62"/>
                  </a:cubicBezTo>
                  <a:cubicBezTo>
                    <a:pt x="22" y="76"/>
                    <a:pt x="37" y="69"/>
                    <a:pt x="39" y="68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40" y="67"/>
                    <a:pt x="45" y="65"/>
                    <a:pt x="45" y="58"/>
                  </a:cubicBezTo>
                  <a:cubicBezTo>
                    <a:pt x="44" y="49"/>
                    <a:pt x="36" y="47"/>
                    <a:pt x="36" y="47"/>
                  </a:cubicBezTo>
                  <a:cubicBezTo>
                    <a:pt x="36" y="47"/>
                    <a:pt x="27" y="44"/>
                    <a:pt x="18" y="42"/>
                  </a:cubicBezTo>
                  <a:cubicBezTo>
                    <a:pt x="4" y="38"/>
                    <a:pt x="2" y="28"/>
                    <a:pt x="2" y="21"/>
                  </a:cubicBezTo>
                  <a:cubicBezTo>
                    <a:pt x="2" y="15"/>
                    <a:pt x="4" y="10"/>
                    <a:pt x="8" y="7"/>
                  </a:cubicBezTo>
                  <a:cubicBezTo>
                    <a:pt x="13" y="3"/>
                    <a:pt x="20" y="0"/>
                    <a:pt x="29" y="1"/>
                  </a:cubicBezTo>
                  <a:cubicBezTo>
                    <a:pt x="46" y="1"/>
                    <a:pt x="54" y="13"/>
                    <a:pt x="56" y="19"/>
                  </a:cubicBezTo>
                  <a:cubicBezTo>
                    <a:pt x="56" y="22"/>
                    <a:pt x="55" y="25"/>
                    <a:pt x="52" y="26"/>
                  </a:cubicBezTo>
                  <a:cubicBezTo>
                    <a:pt x="49" y="26"/>
                    <a:pt x="46" y="25"/>
                    <a:pt x="45" y="22"/>
                  </a:cubicBezTo>
                  <a:cubicBezTo>
                    <a:pt x="45" y="21"/>
                    <a:pt x="41" y="12"/>
                    <a:pt x="29" y="12"/>
                  </a:cubicBezTo>
                  <a:cubicBezTo>
                    <a:pt x="23" y="11"/>
                    <a:pt x="18" y="13"/>
                    <a:pt x="15" y="15"/>
                  </a:cubicBezTo>
                  <a:cubicBezTo>
                    <a:pt x="14" y="17"/>
                    <a:pt x="13" y="19"/>
                    <a:pt x="13" y="21"/>
                  </a:cubicBezTo>
                  <a:cubicBezTo>
                    <a:pt x="13" y="25"/>
                    <a:pt x="14" y="29"/>
                    <a:pt x="21" y="31"/>
                  </a:cubicBezTo>
                  <a:cubicBezTo>
                    <a:pt x="30" y="34"/>
                    <a:pt x="39" y="37"/>
                    <a:pt x="39" y="37"/>
                  </a:cubicBezTo>
                  <a:cubicBezTo>
                    <a:pt x="40" y="37"/>
                    <a:pt x="54" y="41"/>
                    <a:pt x="56" y="57"/>
                  </a:cubicBezTo>
                  <a:cubicBezTo>
                    <a:pt x="57" y="69"/>
                    <a:pt x="48" y="76"/>
                    <a:pt x="44" y="78"/>
                  </a:cubicBezTo>
                  <a:cubicBezTo>
                    <a:pt x="40" y="80"/>
                    <a:pt x="34" y="81"/>
                    <a:pt x="28" y="8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5" name="Freeform 1585">
              <a:extLst>
                <a:ext uri="{FF2B5EF4-FFF2-40B4-BE49-F238E27FC236}">
                  <a16:creationId xmlns:a16="http://schemas.microsoft.com/office/drawing/2014/main" id="{A101DBBD-C620-C093-D689-10A3187C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46182" y="2655279"/>
              <a:ext cx="11113" cy="26988"/>
            </a:xfrm>
            <a:custGeom>
              <a:avLst/>
              <a:gdLst>
                <a:gd name="T0" fmla="*/ 5 w 11"/>
                <a:gd name="T1" fmla="*/ 26 h 26"/>
                <a:gd name="T2" fmla="*/ 0 w 11"/>
                <a:gd name="T3" fmla="*/ 20 h 26"/>
                <a:gd name="T4" fmla="*/ 0 w 11"/>
                <a:gd name="T5" fmla="*/ 5 h 26"/>
                <a:gd name="T6" fmla="*/ 5 w 11"/>
                <a:gd name="T7" fmla="*/ 0 h 26"/>
                <a:gd name="T8" fmla="*/ 11 w 11"/>
                <a:gd name="T9" fmla="*/ 5 h 26"/>
                <a:gd name="T10" fmla="*/ 11 w 11"/>
                <a:gd name="T11" fmla="*/ 20 h 26"/>
                <a:gd name="T12" fmla="*/ 5 w 11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5" y="26"/>
                  </a:moveTo>
                  <a:cubicBezTo>
                    <a:pt x="2" y="26"/>
                    <a:pt x="0" y="23"/>
                    <a:pt x="0" y="2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3"/>
                    <a:pt x="8" y="26"/>
                    <a:pt x="5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6" name="Freeform 1586">
              <a:extLst>
                <a:ext uri="{FF2B5EF4-FFF2-40B4-BE49-F238E27FC236}">
                  <a16:creationId xmlns:a16="http://schemas.microsoft.com/office/drawing/2014/main" id="{227B0BC4-7D5D-40D8-D767-F85AB7392D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46182" y="2744179"/>
              <a:ext cx="11113" cy="26988"/>
            </a:xfrm>
            <a:custGeom>
              <a:avLst/>
              <a:gdLst>
                <a:gd name="T0" fmla="*/ 5 w 11"/>
                <a:gd name="T1" fmla="*/ 26 h 26"/>
                <a:gd name="T2" fmla="*/ 0 w 11"/>
                <a:gd name="T3" fmla="*/ 20 h 26"/>
                <a:gd name="T4" fmla="*/ 0 w 11"/>
                <a:gd name="T5" fmla="*/ 6 h 26"/>
                <a:gd name="T6" fmla="*/ 5 w 11"/>
                <a:gd name="T7" fmla="*/ 0 h 26"/>
                <a:gd name="T8" fmla="*/ 11 w 11"/>
                <a:gd name="T9" fmla="*/ 6 h 26"/>
                <a:gd name="T10" fmla="*/ 11 w 11"/>
                <a:gd name="T11" fmla="*/ 20 h 26"/>
                <a:gd name="T12" fmla="*/ 5 w 11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5" y="26"/>
                  </a:moveTo>
                  <a:cubicBezTo>
                    <a:pt x="2" y="26"/>
                    <a:pt x="0" y="23"/>
                    <a:pt x="0" y="2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3"/>
                    <a:pt x="8" y="26"/>
                    <a:pt x="5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7" name="Freeform 1587">
              <a:extLst>
                <a:ext uri="{FF2B5EF4-FFF2-40B4-BE49-F238E27FC236}">
                  <a16:creationId xmlns:a16="http://schemas.microsoft.com/office/drawing/2014/main" id="{09702E37-A47A-E976-D088-7AB71BD93D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327143" y="2629881"/>
              <a:ext cx="171449" cy="169864"/>
            </a:xfrm>
            <a:custGeom>
              <a:avLst/>
              <a:gdLst>
                <a:gd name="T0" fmla="*/ 82 w 165"/>
                <a:gd name="T1" fmla="*/ 164 h 164"/>
                <a:gd name="T2" fmla="*/ 0 w 165"/>
                <a:gd name="T3" fmla="*/ 82 h 164"/>
                <a:gd name="T4" fmla="*/ 82 w 165"/>
                <a:gd name="T5" fmla="*/ 0 h 164"/>
                <a:gd name="T6" fmla="*/ 165 w 165"/>
                <a:gd name="T7" fmla="*/ 82 h 164"/>
                <a:gd name="T8" fmla="*/ 82 w 165"/>
                <a:gd name="T9" fmla="*/ 164 h 164"/>
                <a:gd name="T10" fmla="*/ 82 w 165"/>
                <a:gd name="T11" fmla="*/ 11 h 164"/>
                <a:gd name="T12" fmla="*/ 11 w 165"/>
                <a:gd name="T13" fmla="*/ 82 h 164"/>
                <a:gd name="T14" fmla="*/ 82 w 165"/>
                <a:gd name="T15" fmla="*/ 153 h 164"/>
                <a:gd name="T16" fmla="*/ 154 w 165"/>
                <a:gd name="T17" fmla="*/ 82 h 164"/>
                <a:gd name="T18" fmla="*/ 82 w 165"/>
                <a:gd name="T19" fmla="*/ 11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4">
                  <a:moveTo>
                    <a:pt x="82" y="164"/>
                  </a:moveTo>
                  <a:cubicBezTo>
                    <a:pt x="37" y="164"/>
                    <a:pt x="0" y="128"/>
                    <a:pt x="0" y="82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2"/>
                  </a:cubicBezTo>
                  <a:cubicBezTo>
                    <a:pt x="165" y="128"/>
                    <a:pt x="128" y="164"/>
                    <a:pt x="82" y="164"/>
                  </a:cubicBezTo>
                  <a:close/>
                  <a:moveTo>
                    <a:pt x="82" y="11"/>
                  </a:moveTo>
                  <a:cubicBezTo>
                    <a:pt x="43" y="11"/>
                    <a:pt x="11" y="43"/>
                    <a:pt x="11" y="82"/>
                  </a:cubicBezTo>
                  <a:cubicBezTo>
                    <a:pt x="11" y="122"/>
                    <a:pt x="43" y="153"/>
                    <a:pt x="82" y="153"/>
                  </a:cubicBezTo>
                  <a:cubicBezTo>
                    <a:pt x="122" y="153"/>
                    <a:pt x="154" y="122"/>
                    <a:pt x="154" y="82"/>
                  </a:cubicBezTo>
                  <a:cubicBezTo>
                    <a:pt x="154" y="43"/>
                    <a:pt x="122" y="11"/>
                    <a:pt x="8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8" name="Freeform 1588">
              <a:extLst>
                <a:ext uri="{FF2B5EF4-FFF2-40B4-BE49-F238E27FC236}">
                  <a16:creationId xmlns:a16="http://schemas.microsoft.com/office/drawing/2014/main" id="{1FF8B1DE-01B4-6BF6-667A-6A96516FF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17595" y="2734657"/>
              <a:ext cx="252412" cy="176214"/>
            </a:xfrm>
            <a:custGeom>
              <a:avLst/>
              <a:gdLst>
                <a:gd name="T0" fmla="*/ 202 w 243"/>
                <a:gd name="T1" fmla="*/ 170 h 170"/>
                <a:gd name="T2" fmla="*/ 197 w 243"/>
                <a:gd name="T3" fmla="*/ 164 h 170"/>
                <a:gd name="T4" fmla="*/ 197 w 243"/>
                <a:gd name="T5" fmla="*/ 131 h 170"/>
                <a:gd name="T6" fmla="*/ 202 w 243"/>
                <a:gd name="T7" fmla="*/ 125 h 170"/>
                <a:gd name="T8" fmla="*/ 208 w 243"/>
                <a:gd name="T9" fmla="*/ 131 h 170"/>
                <a:gd name="T10" fmla="*/ 219 w 243"/>
                <a:gd name="T11" fmla="*/ 143 h 170"/>
                <a:gd name="T12" fmla="*/ 228 w 243"/>
                <a:gd name="T13" fmla="*/ 140 h 170"/>
                <a:gd name="T14" fmla="*/ 232 w 243"/>
                <a:gd name="T15" fmla="*/ 131 h 170"/>
                <a:gd name="T16" fmla="*/ 232 w 243"/>
                <a:gd name="T17" fmla="*/ 40 h 170"/>
                <a:gd name="T18" fmla="*/ 202 w 243"/>
                <a:gd name="T19" fmla="*/ 11 h 170"/>
                <a:gd name="T20" fmla="*/ 115 w 243"/>
                <a:gd name="T21" fmla="*/ 11 h 170"/>
                <a:gd name="T22" fmla="*/ 98 w 243"/>
                <a:gd name="T23" fmla="*/ 17 h 170"/>
                <a:gd name="T24" fmla="*/ 60 w 243"/>
                <a:gd name="T25" fmla="*/ 46 h 170"/>
                <a:gd name="T26" fmla="*/ 59 w 243"/>
                <a:gd name="T27" fmla="*/ 47 h 170"/>
                <a:gd name="T28" fmla="*/ 18 w 243"/>
                <a:gd name="T29" fmla="*/ 60 h 170"/>
                <a:gd name="T30" fmla="*/ 12 w 243"/>
                <a:gd name="T31" fmla="*/ 65 h 170"/>
                <a:gd name="T32" fmla="*/ 12 w 243"/>
                <a:gd name="T33" fmla="*/ 73 h 170"/>
                <a:gd name="T34" fmla="*/ 23 w 243"/>
                <a:gd name="T35" fmla="*/ 79 h 170"/>
                <a:gd name="T36" fmla="*/ 46 w 243"/>
                <a:gd name="T37" fmla="*/ 75 h 170"/>
                <a:gd name="T38" fmla="*/ 87 w 243"/>
                <a:gd name="T39" fmla="*/ 62 h 170"/>
                <a:gd name="T40" fmla="*/ 113 w 243"/>
                <a:gd name="T41" fmla="*/ 50 h 170"/>
                <a:gd name="T42" fmla="*/ 118 w 243"/>
                <a:gd name="T43" fmla="*/ 51 h 170"/>
                <a:gd name="T44" fmla="*/ 120 w 243"/>
                <a:gd name="T45" fmla="*/ 55 h 170"/>
                <a:gd name="T46" fmla="*/ 120 w 243"/>
                <a:gd name="T47" fmla="*/ 131 h 170"/>
                <a:gd name="T48" fmla="*/ 115 w 243"/>
                <a:gd name="T49" fmla="*/ 136 h 170"/>
                <a:gd name="T50" fmla="*/ 109 w 243"/>
                <a:gd name="T51" fmla="*/ 131 h 170"/>
                <a:gd name="T52" fmla="*/ 109 w 243"/>
                <a:gd name="T53" fmla="*/ 64 h 170"/>
                <a:gd name="T54" fmla="*/ 91 w 243"/>
                <a:gd name="T55" fmla="*/ 72 h 170"/>
                <a:gd name="T56" fmla="*/ 48 w 243"/>
                <a:gd name="T57" fmla="*/ 86 h 170"/>
                <a:gd name="T58" fmla="*/ 25 w 243"/>
                <a:gd name="T59" fmla="*/ 90 h 170"/>
                <a:gd name="T60" fmla="*/ 2 w 243"/>
                <a:gd name="T61" fmla="*/ 77 h 170"/>
                <a:gd name="T62" fmla="*/ 3 w 243"/>
                <a:gd name="T63" fmla="*/ 60 h 170"/>
                <a:gd name="T64" fmla="*/ 15 w 243"/>
                <a:gd name="T65" fmla="*/ 49 h 170"/>
                <a:gd name="T66" fmla="*/ 54 w 243"/>
                <a:gd name="T67" fmla="*/ 37 h 170"/>
                <a:gd name="T68" fmla="*/ 92 w 243"/>
                <a:gd name="T69" fmla="*/ 8 h 170"/>
                <a:gd name="T70" fmla="*/ 115 w 243"/>
                <a:gd name="T71" fmla="*/ 0 h 170"/>
                <a:gd name="T72" fmla="*/ 202 w 243"/>
                <a:gd name="T73" fmla="*/ 0 h 170"/>
                <a:gd name="T74" fmla="*/ 243 w 243"/>
                <a:gd name="T75" fmla="*/ 40 h 170"/>
                <a:gd name="T76" fmla="*/ 243 w 243"/>
                <a:gd name="T77" fmla="*/ 131 h 170"/>
                <a:gd name="T78" fmla="*/ 235 w 243"/>
                <a:gd name="T79" fmla="*/ 148 h 170"/>
                <a:gd name="T80" fmla="*/ 217 w 243"/>
                <a:gd name="T81" fmla="*/ 154 h 170"/>
                <a:gd name="T82" fmla="*/ 208 w 243"/>
                <a:gd name="T83" fmla="*/ 151 h 170"/>
                <a:gd name="T84" fmla="*/ 208 w 243"/>
                <a:gd name="T85" fmla="*/ 164 h 170"/>
                <a:gd name="T86" fmla="*/ 202 w 243"/>
                <a:gd name="T87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3" h="170">
                  <a:moveTo>
                    <a:pt x="202" y="170"/>
                  </a:moveTo>
                  <a:cubicBezTo>
                    <a:pt x="199" y="170"/>
                    <a:pt x="197" y="167"/>
                    <a:pt x="197" y="164"/>
                  </a:cubicBezTo>
                  <a:cubicBezTo>
                    <a:pt x="197" y="131"/>
                    <a:pt x="197" y="131"/>
                    <a:pt x="197" y="131"/>
                  </a:cubicBezTo>
                  <a:cubicBezTo>
                    <a:pt x="197" y="128"/>
                    <a:pt x="199" y="125"/>
                    <a:pt x="202" y="125"/>
                  </a:cubicBezTo>
                  <a:cubicBezTo>
                    <a:pt x="205" y="125"/>
                    <a:pt x="208" y="128"/>
                    <a:pt x="208" y="131"/>
                  </a:cubicBezTo>
                  <a:cubicBezTo>
                    <a:pt x="208" y="137"/>
                    <a:pt x="213" y="143"/>
                    <a:pt x="219" y="143"/>
                  </a:cubicBezTo>
                  <a:cubicBezTo>
                    <a:pt x="222" y="144"/>
                    <a:pt x="225" y="143"/>
                    <a:pt x="228" y="140"/>
                  </a:cubicBezTo>
                  <a:cubicBezTo>
                    <a:pt x="230" y="138"/>
                    <a:pt x="232" y="135"/>
                    <a:pt x="232" y="131"/>
                  </a:cubicBezTo>
                  <a:cubicBezTo>
                    <a:pt x="232" y="40"/>
                    <a:pt x="232" y="40"/>
                    <a:pt x="232" y="40"/>
                  </a:cubicBezTo>
                  <a:cubicBezTo>
                    <a:pt x="232" y="24"/>
                    <a:pt x="218" y="11"/>
                    <a:pt x="202" y="11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09" y="11"/>
                    <a:pt x="103" y="13"/>
                    <a:pt x="98" y="17"/>
                  </a:cubicBezTo>
                  <a:cubicBezTo>
                    <a:pt x="60" y="46"/>
                    <a:pt x="60" y="46"/>
                    <a:pt x="60" y="46"/>
                  </a:cubicBezTo>
                  <a:cubicBezTo>
                    <a:pt x="60" y="47"/>
                    <a:pt x="59" y="47"/>
                    <a:pt x="59" y="47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6" y="61"/>
                    <a:pt x="14" y="63"/>
                    <a:pt x="12" y="65"/>
                  </a:cubicBezTo>
                  <a:cubicBezTo>
                    <a:pt x="11" y="68"/>
                    <a:pt x="11" y="70"/>
                    <a:pt x="12" y="73"/>
                  </a:cubicBezTo>
                  <a:cubicBezTo>
                    <a:pt x="14" y="78"/>
                    <a:pt x="19" y="80"/>
                    <a:pt x="23" y="79"/>
                  </a:cubicBezTo>
                  <a:cubicBezTo>
                    <a:pt x="46" y="75"/>
                    <a:pt x="46" y="75"/>
                    <a:pt x="46" y="75"/>
                  </a:cubicBezTo>
                  <a:cubicBezTo>
                    <a:pt x="60" y="72"/>
                    <a:pt x="74" y="68"/>
                    <a:pt x="87" y="62"/>
                  </a:cubicBezTo>
                  <a:cubicBezTo>
                    <a:pt x="113" y="50"/>
                    <a:pt x="113" y="50"/>
                    <a:pt x="113" y="50"/>
                  </a:cubicBezTo>
                  <a:cubicBezTo>
                    <a:pt x="114" y="49"/>
                    <a:pt x="116" y="50"/>
                    <a:pt x="118" y="51"/>
                  </a:cubicBezTo>
                  <a:cubicBezTo>
                    <a:pt x="119" y="52"/>
                    <a:pt x="120" y="53"/>
                    <a:pt x="120" y="55"/>
                  </a:cubicBezTo>
                  <a:cubicBezTo>
                    <a:pt x="120" y="131"/>
                    <a:pt x="120" y="131"/>
                    <a:pt x="120" y="131"/>
                  </a:cubicBezTo>
                  <a:cubicBezTo>
                    <a:pt x="120" y="134"/>
                    <a:pt x="118" y="136"/>
                    <a:pt x="115" y="136"/>
                  </a:cubicBezTo>
                  <a:cubicBezTo>
                    <a:pt x="112" y="136"/>
                    <a:pt x="109" y="134"/>
                    <a:pt x="109" y="131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91" y="72"/>
                    <a:pt x="91" y="72"/>
                    <a:pt x="91" y="72"/>
                  </a:cubicBezTo>
                  <a:cubicBezTo>
                    <a:pt x="78" y="78"/>
                    <a:pt x="63" y="83"/>
                    <a:pt x="48" y="86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15" y="92"/>
                    <a:pt x="5" y="87"/>
                    <a:pt x="2" y="77"/>
                  </a:cubicBezTo>
                  <a:cubicBezTo>
                    <a:pt x="0" y="71"/>
                    <a:pt x="0" y="66"/>
                    <a:pt x="3" y="60"/>
                  </a:cubicBezTo>
                  <a:cubicBezTo>
                    <a:pt x="5" y="55"/>
                    <a:pt x="10" y="51"/>
                    <a:pt x="15" y="49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92" y="8"/>
                    <a:pt x="92" y="8"/>
                    <a:pt x="92" y="8"/>
                  </a:cubicBezTo>
                  <a:cubicBezTo>
                    <a:pt x="99" y="3"/>
                    <a:pt x="107" y="0"/>
                    <a:pt x="115" y="0"/>
                  </a:cubicBezTo>
                  <a:cubicBezTo>
                    <a:pt x="202" y="0"/>
                    <a:pt x="202" y="0"/>
                    <a:pt x="202" y="0"/>
                  </a:cubicBezTo>
                  <a:cubicBezTo>
                    <a:pt x="225" y="0"/>
                    <a:pt x="243" y="18"/>
                    <a:pt x="243" y="40"/>
                  </a:cubicBezTo>
                  <a:cubicBezTo>
                    <a:pt x="243" y="131"/>
                    <a:pt x="243" y="131"/>
                    <a:pt x="243" y="131"/>
                  </a:cubicBezTo>
                  <a:cubicBezTo>
                    <a:pt x="243" y="138"/>
                    <a:pt x="240" y="144"/>
                    <a:pt x="235" y="148"/>
                  </a:cubicBezTo>
                  <a:cubicBezTo>
                    <a:pt x="230" y="153"/>
                    <a:pt x="224" y="155"/>
                    <a:pt x="217" y="154"/>
                  </a:cubicBezTo>
                  <a:cubicBezTo>
                    <a:pt x="214" y="154"/>
                    <a:pt x="211" y="153"/>
                    <a:pt x="208" y="151"/>
                  </a:cubicBezTo>
                  <a:cubicBezTo>
                    <a:pt x="208" y="164"/>
                    <a:pt x="208" y="164"/>
                    <a:pt x="208" y="164"/>
                  </a:cubicBezTo>
                  <a:cubicBezTo>
                    <a:pt x="208" y="167"/>
                    <a:pt x="205" y="170"/>
                    <a:pt x="202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9" name="Freeform 1589">
              <a:extLst>
                <a:ext uri="{FF2B5EF4-FFF2-40B4-BE49-F238E27FC236}">
                  <a16:creationId xmlns:a16="http://schemas.microsoft.com/office/drawing/2014/main" id="{108F6D92-6D33-0986-EAF1-CA420C887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03296" y="2864835"/>
              <a:ext cx="11113" cy="46038"/>
            </a:xfrm>
            <a:custGeom>
              <a:avLst/>
              <a:gdLst>
                <a:gd name="T0" fmla="*/ 6 w 11"/>
                <a:gd name="T1" fmla="*/ 45 h 45"/>
                <a:gd name="T2" fmla="*/ 0 w 11"/>
                <a:gd name="T3" fmla="*/ 39 h 45"/>
                <a:gd name="T4" fmla="*/ 0 w 11"/>
                <a:gd name="T5" fmla="*/ 6 h 45"/>
                <a:gd name="T6" fmla="*/ 6 w 11"/>
                <a:gd name="T7" fmla="*/ 0 h 45"/>
                <a:gd name="T8" fmla="*/ 11 w 11"/>
                <a:gd name="T9" fmla="*/ 6 h 45"/>
                <a:gd name="T10" fmla="*/ 11 w 11"/>
                <a:gd name="T11" fmla="*/ 39 h 45"/>
                <a:gd name="T12" fmla="*/ 6 w 11"/>
                <a:gd name="T1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5">
                  <a:moveTo>
                    <a:pt x="6" y="45"/>
                  </a:moveTo>
                  <a:cubicBezTo>
                    <a:pt x="3" y="45"/>
                    <a:pt x="0" y="42"/>
                    <a:pt x="0" y="3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11" y="42"/>
                    <a:pt x="9" y="45"/>
                    <a:pt x="6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0" name="Freeform 1590">
              <a:extLst>
                <a:ext uri="{FF2B5EF4-FFF2-40B4-BE49-F238E27FC236}">
                  <a16:creationId xmlns:a16="http://schemas.microsoft.com/office/drawing/2014/main" id="{E2FD17FC-22B3-90EC-6E31-4AA36D547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03296" y="2734659"/>
              <a:ext cx="101600" cy="11113"/>
            </a:xfrm>
            <a:custGeom>
              <a:avLst/>
              <a:gdLst>
                <a:gd name="T0" fmla="*/ 93 w 99"/>
                <a:gd name="T1" fmla="*/ 11 h 11"/>
                <a:gd name="T2" fmla="*/ 6 w 99"/>
                <a:gd name="T3" fmla="*/ 11 h 11"/>
                <a:gd name="T4" fmla="*/ 0 w 99"/>
                <a:gd name="T5" fmla="*/ 5 h 11"/>
                <a:gd name="T6" fmla="*/ 6 w 99"/>
                <a:gd name="T7" fmla="*/ 0 h 11"/>
                <a:gd name="T8" fmla="*/ 93 w 99"/>
                <a:gd name="T9" fmla="*/ 0 h 11"/>
                <a:gd name="T10" fmla="*/ 99 w 99"/>
                <a:gd name="T11" fmla="*/ 5 h 11"/>
                <a:gd name="T12" fmla="*/ 93 w 99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11">
                  <a:moveTo>
                    <a:pt x="93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6" y="0"/>
                    <a:pt x="99" y="2"/>
                    <a:pt x="99" y="5"/>
                  </a:cubicBezTo>
                  <a:cubicBezTo>
                    <a:pt x="99" y="8"/>
                    <a:pt x="96" y="11"/>
                    <a:pt x="9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1" name="Freeform 1591">
              <a:extLst>
                <a:ext uri="{FF2B5EF4-FFF2-40B4-BE49-F238E27FC236}">
                  <a16:creationId xmlns:a16="http://schemas.microsoft.com/office/drawing/2014/main" id="{ADDAE79B-6356-410F-4356-5B4A757DD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-912808" y="2787045"/>
              <a:ext cx="11113" cy="88900"/>
            </a:xfrm>
            <a:custGeom>
              <a:avLst/>
              <a:gdLst>
                <a:gd name="T0" fmla="*/ 5 w 11"/>
                <a:gd name="T1" fmla="*/ 86 h 86"/>
                <a:gd name="T2" fmla="*/ 0 w 11"/>
                <a:gd name="T3" fmla="*/ 81 h 86"/>
                <a:gd name="T4" fmla="*/ 0 w 11"/>
                <a:gd name="T5" fmla="*/ 5 h 86"/>
                <a:gd name="T6" fmla="*/ 5 w 11"/>
                <a:gd name="T7" fmla="*/ 0 h 86"/>
                <a:gd name="T8" fmla="*/ 11 w 11"/>
                <a:gd name="T9" fmla="*/ 5 h 86"/>
                <a:gd name="T10" fmla="*/ 11 w 11"/>
                <a:gd name="T11" fmla="*/ 81 h 86"/>
                <a:gd name="T12" fmla="*/ 5 w 11"/>
                <a:gd name="T1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6">
                  <a:moveTo>
                    <a:pt x="5" y="86"/>
                  </a:moveTo>
                  <a:cubicBezTo>
                    <a:pt x="2" y="86"/>
                    <a:pt x="0" y="84"/>
                    <a:pt x="0" y="8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81"/>
                    <a:pt x="11" y="81"/>
                    <a:pt x="11" y="81"/>
                  </a:cubicBezTo>
                  <a:cubicBezTo>
                    <a:pt x="11" y="84"/>
                    <a:pt x="8" y="86"/>
                    <a:pt x="5" y="8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2" name="Freeform 1592">
              <a:extLst>
                <a:ext uri="{FF2B5EF4-FFF2-40B4-BE49-F238E27FC236}">
                  <a16:creationId xmlns:a16="http://schemas.microsoft.com/office/drawing/2014/main" id="{6B910671-1BEE-C1CC-E630-AE6896FFF2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89009" y="2648938"/>
              <a:ext cx="73025" cy="73026"/>
            </a:xfrm>
            <a:custGeom>
              <a:avLst/>
              <a:gdLst>
                <a:gd name="T0" fmla="*/ 35 w 69"/>
                <a:gd name="T1" fmla="*/ 70 h 70"/>
                <a:gd name="T2" fmla="*/ 0 w 69"/>
                <a:gd name="T3" fmla="*/ 35 h 70"/>
                <a:gd name="T4" fmla="*/ 35 w 69"/>
                <a:gd name="T5" fmla="*/ 0 h 70"/>
                <a:gd name="T6" fmla="*/ 69 w 69"/>
                <a:gd name="T7" fmla="*/ 35 h 70"/>
                <a:gd name="T8" fmla="*/ 35 w 69"/>
                <a:gd name="T9" fmla="*/ 70 h 70"/>
                <a:gd name="T10" fmla="*/ 35 w 69"/>
                <a:gd name="T11" fmla="*/ 11 h 70"/>
                <a:gd name="T12" fmla="*/ 11 w 69"/>
                <a:gd name="T13" fmla="*/ 35 h 70"/>
                <a:gd name="T14" fmla="*/ 35 w 69"/>
                <a:gd name="T15" fmla="*/ 59 h 70"/>
                <a:gd name="T16" fmla="*/ 58 w 69"/>
                <a:gd name="T17" fmla="*/ 35 h 70"/>
                <a:gd name="T18" fmla="*/ 35 w 69"/>
                <a:gd name="T19" fmla="*/ 11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70">
                  <a:moveTo>
                    <a:pt x="35" y="70"/>
                  </a:moveTo>
                  <a:cubicBezTo>
                    <a:pt x="15" y="70"/>
                    <a:pt x="0" y="54"/>
                    <a:pt x="0" y="35"/>
                  </a:cubicBezTo>
                  <a:cubicBezTo>
                    <a:pt x="0" y="16"/>
                    <a:pt x="15" y="0"/>
                    <a:pt x="35" y="0"/>
                  </a:cubicBezTo>
                  <a:cubicBezTo>
                    <a:pt x="54" y="0"/>
                    <a:pt x="69" y="16"/>
                    <a:pt x="69" y="35"/>
                  </a:cubicBezTo>
                  <a:cubicBezTo>
                    <a:pt x="69" y="54"/>
                    <a:pt x="54" y="70"/>
                    <a:pt x="35" y="70"/>
                  </a:cubicBezTo>
                  <a:close/>
                  <a:moveTo>
                    <a:pt x="35" y="11"/>
                  </a:moveTo>
                  <a:cubicBezTo>
                    <a:pt x="21" y="11"/>
                    <a:pt x="11" y="22"/>
                    <a:pt x="11" y="35"/>
                  </a:cubicBezTo>
                  <a:cubicBezTo>
                    <a:pt x="11" y="48"/>
                    <a:pt x="21" y="59"/>
                    <a:pt x="35" y="59"/>
                  </a:cubicBezTo>
                  <a:cubicBezTo>
                    <a:pt x="48" y="59"/>
                    <a:pt x="58" y="48"/>
                    <a:pt x="58" y="35"/>
                  </a:cubicBezTo>
                  <a:cubicBezTo>
                    <a:pt x="58" y="22"/>
                    <a:pt x="48" y="11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3" name="Freeform 1593">
              <a:extLst>
                <a:ext uri="{FF2B5EF4-FFF2-40B4-BE49-F238E27FC236}">
                  <a16:creationId xmlns:a16="http://schemas.microsoft.com/office/drawing/2014/main" id="{683813A9-8366-9D5C-D875-E880FC4D3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65225" y="2761630"/>
              <a:ext cx="63500" cy="42863"/>
            </a:xfrm>
            <a:custGeom>
              <a:avLst/>
              <a:gdLst>
                <a:gd name="T0" fmla="*/ 54 w 60"/>
                <a:gd name="T1" fmla="*/ 41 h 41"/>
                <a:gd name="T2" fmla="*/ 51 w 60"/>
                <a:gd name="T3" fmla="*/ 40 h 41"/>
                <a:gd name="T4" fmla="*/ 3 w 60"/>
                <a:gd name="T5" fmla="*/ 11 h 41"/>
                <a:gd name="T6" fmla="*/ 1 w 60"/>
                <a:gd name="T7" fmla="*/ 4 h 41"/>
                <a:gd name="T8" fmla="*/ 9 w 60"/>
                <a:gd name="T9" fmla="*/ 2 h 41"/>
                <a:gd name="T10" fmla="*/ 57 w 60"/>
                <a:gd name="T11" fmla="*/ 31 h 41"/>
                <a:gd name="T12" fmla="*/ 59 w 60"/>
                <a:gd name="T13" fmla="*/ 38 h 41"/>
                <a:gd name="T14" fmla="*/ 54 w 60"/>
                <a:gd name="T1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41">
                  <a:moveTo>
                    <a:pt x="54" y="41"/>
                  </a:moveTo>
                  <a:cubicBezTo>
                    <a:pt x="53" y="41"/>
                    <a:pt x="52" y="41"/>
                    <a:pt x="51" y="4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10"/>
                    <a:pt x="0" y="7"/>
                    <a:pt x="1" y="4"/>
                  </a:cubicBezTo>
                  <a:cubicBezTo>
                    <a:pt x="3" y="1"/>
                    <a:pt x="6" y="0"/>
                    <a:pt x="9" y="2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60" y="32"/>
                    <a:pt x="60" y="36"/>
                    <a:pt x="59" y="38"/>
                  </a:cubicBezTo>
                  <a:cubicBezTo>
                    <a:pt x="58" y="40"/>
                    <a:pt x="56" y="41"/>
                    <a:pt x="54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84" name="Shape69_20200717_142846">
            <a:extLst>
              <a:ext uri="{FF2B5EF4-FFF2-40B4-BE49-F238E27FC236}">
                <a16:creationId xmlns:a16="http://schemas.microsoft.com/office/drawing/2014/main" id="{3DABC642-9B1E-A84D-5BAF-1767DD2ABBFA}"/>
              </a:ext>
            </a:extLst>
          </p:cNvPr>
          <p:cNvGrpSpPr>
            <a:grpSpLocks noChangeAspect="1"/>
          </p:cNvGrpSpPr>
          <p:nvPr/>
        </p:nvGrpSpPr>
        <p:grpSpPr>
          <a:xfrm>
            <a:off x="9704418" y="5193135"/>
            <a:ext cx="616502" cy="494162"/>
            <a:chOff x="109537" y="2911485"/>
            <a:chExt cx="407988" cy="327027"/>
          </a:xfrm>
          <a:solidFill>
            <a:schemeClr val="accent1"/>
          </a:solidFill>
        </p:grpSpPr>
        <p:sp>
          <p:nvSpPr>
            <p:cNvPr id="385" name="Freeform 540">
              <a:extLst>
                <a:ext uri="{FF2B5EF4-FFF2-40B4-BE49-F238E27FC236}">
                  <a16:creationId xmlns:a16="http://schemas.microsoft.com/office/drawing/2014/main" id="{21DC72C2-4454-4B3D-756A-13E65D29F3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537" y="2911485"/>
              <a:ext cx="407988" cy="277814"/>
            </a:xfrm>
            <a:custGeom>
              <a:avLst/>
              <a:gdLst>
                <a:gd name="T0" fmla="*/ 164 w 181"/>
                <a:gd name="T1" fmla="*/ 123 h 123"/>
                <a:gd name="T2" fmla="*/ 17 w 181"/>
                <a:gd name="T3" fmla="*/ 123 h 123"/>
                <a:gd name="T4" fmla="*/ 0 w 181"/>
                <a:gd name="T5" fmla="*/ 106 h 123"/>
                <a:gd name="T6" fmla="*/ 0 w 181"/>
                <a:gd name="T7" fmla="*/ 17 h 123"/>
                <a:gd name="T8" fmla="*/ 17 w 181"/>
                <a:gd name="T9" fmla="*/ 0 h 123"/>
                <a:gd name="T10" fmla="*/ 164 w 181"/>
                <a:gd name="T11" fmla="*/ 0 h 123"/>
                <a:gd name="T12" fmla="*/ 181 w 181"/>
                <a:gd name="T13" fmla="*/ 17 h 123"/>
                <a:gd name="T14" fmla="*/ 181 w 181"/>
                <a:gd name="T15" fmla="*/ 106 h 123"/>
                <a:gd name="T16" fmla="*/ 164 w 181"/>
                <a:gd name="T17" fmla="*/ 123 h 123"/>
                <a:gd name="T18" fmla="*/ 17 w 181"/>
                <a:gd name="T19" fmla="*/ 5 h 123"/>
                <a:gd name="T20" fmla="*/ 5 w 181"/>
                <a:gd name="T21" fmla="*/ 17 h 123"/>
                <a:gd name="T22" fmla="*/ 5 w 181"/>
                <a:gd name="T23" fmla="*/ 106 h 123"/>
                <a:gd name="T24" fmla="*/ 17 w 181"/>
                <a:gd name="T25" fmla="*/ 118 h 123"/>
                <a:gd name="T26" fmla="*/ 164 w 181"/>
                <a:gd name="T27" fmla="*/ 118 h 123"/>
                <a:gd name="T28" fmla="*/ 176 w 181"/>
                <a:gd name="T29" fmla="*/ 106 h 123"/>
                <a:gd name="T30" fmla="*/ 176 w 181"/>
                <a:gd name="T31" fmla="*/ 17 h 123"/>
                <a:gd name="T32" fmla="*/ 164 w 181"/>
                <a:gd name="T33" fmla="*/ 5 h 123"/>
                <a:gd name="T34" fmla="*/ 17 w 181"/>
                <a:gd name="T35" fmla="*/ 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23">
                  <a:moveTo>
                    <a:pt x="164" y="123"/>
                  </a:moveTo>
                  <a:cubicBezTo>
                    <a:pt x="17" y="123"/>
                    <a:pt x="17" y="123"/>
                    <a:pt x="17" y="123"/>
                  </a:cubicBezTo>
                  <a:cubicBezTo>
                    <a:pt x="7" y="123"/>
                    <a:pt x="0" y="115"/>
                    <a:pt x="0" y="10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0"/>
                    <a:pt x="17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73" y="0"/>
                    <a:pt x="181" y="8"/>
                    <a:pt x="181" y="17"/>
                  </a:cubicBezTo>
                  <a:cubicBezTo>
                    <a:pt x="181" y="106"/>
                    <a:pt x="181" y="106"/>
                    <a:pt x="181" y="106"/>
                  </a:cubicBezTo>
                  <a:cubicBezTo>
                    <a:pt x="181" y="115"/>
                    <a:pt x="173" y="123"/>
                    <a:pt x="164" y="123"/>
                  </a:cubicBezTo>
                  <a:close/>
                  <a:moveTo>
                    <a:pt x="17" y="5"/>
                  </a:moveTo>
                  <a:cubicBezTo>
                    <a:pt x="10" y="5"/>
                    <a:pt x="5" y="10"/>
                    <a:pt x="5" y="17"/>
                  </a:cubicBezTo>
                  <a:cubicBezTo>
                    <a:pt x="5" y="106"/>
                    <a:pt x="5" y="106"/>
                    <a:pt x="5" y="106"/>
                  </a:cubicBezTo>
                  <a:cubicBezTo>
                    <a:pt x="5" y="112"/>
                    <a:pt x="10" y="118"/>
                    <a:pt x="17" y="118"/>
                  </a:cubicBezTo>
                  <a:cubicBezTo>
                    <a:pt x="164" y="118"/>
                    <a:pt x="164" y="118"/>
                    <a:pt x="164" y="118"/>
                  </a:cubicBezTo>
                  <a:cubicBezTo>
                    <a:pt x="171" y="118"/>
                    <a:pt x="176" y="112"/>
                    <a:pt x="176" y="106"/>
                  </a:cubicBezTo>
                  <a:cubicBezTo>
                    <a:pt x="176" y="17"/>
                    <a:pt x="176" y="17"/>
                    <a:pt x="176" y="17"/>
                  </a:cubicBezTo>
                  <a:cubicBezTo>
                    <a:pt x="176" y="10"/>
                    <a:pt x="171" y="5"/>
                    <a:pt x="164" y="5"/>
                  </a:cubicBezTo>
                  <a:lnTo>
                    <a:pt x="17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6" name="Freeform 541">
              <a:extLst>
                <a:ext uri="{FF2B5EF4-FFF2-40B4-BE49-F238E27FC236}">
                  <a16:creationId xmlns:a16="http://schemas.microsoft.com/office/drawing/2014/main" id="{9D03642B-8E38-6EDB-705A-D8A15A3532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512" y="3178186"/>
              <a:ext cx="47625" cy="60325"/>
            </a:xfrm>
            <a:custGeom>
              <a:avLst/>
              <a:gdLst>
                <a:gd name="T0" fmla="*/ 19 w 21"/>
                <a:gd name="T1" fmla="*/ 27 h 27"/>
                <a:gd name="T2" fmla="*/ 2 w 21"/>
                <a:gd name="T3" fmla="*/ 27 h 27"/>
                <a:gd name="T4" fmla="*/ 0 w 21"/>
                <a:gd name="T5" fmla="*/ 24 h 27"/>
                <a:gd name="T6" fmla="*/ 0 w 21"/>
                <a:gd name="T7" fmla="*/ 2 h 27"/>
                <a:gd name="T8" fmla="*/ 2 w 21"/>
                <a:gd name="T9" fmla="*/ 0 h 27"/>
                <a:gd name="T10" fmla="*/ 19 w 21"/>
                <a:gd name="T11" fmla="*/ 0 h 27"/>
                <a:gd name="T12" fmla="*/ 21 w 21"/>
                <a:gd name="T13" fmla="*/ 2 h 27"/>
                <a:gd name="T14" fmla="*/ 21 w 21"/>
                <a:gd name="T15" fmla="*/ 24 h 27"/>
                <a:gd name="T16" fmla="*/ 19 w 21"/>
                <a:gd name="T17" fmla="*/ 27 h 27"/>
                <a:gd name="T18" fmla="*/ 4 w 21"/>
                <a:gd name="T19" fmla="*/ 22 h 27"/>
                <a:gd name="T20" fmla="*/ 16 w 21"/>
                <a:gd name="T21" fmla="*/ 22 h 27"/>
                <a:gd name="T22" fmla="*/ 16 w 21"/>
                <a:gd name="T23" fmla="*/ 5 h 27"/>
                <a:gd name="T24" fmla="*/ 4 w 21"/>
                <a:gd name="T25" fmla="*/ 5 h 27"/>
                <a:gd name="T26" fmla="*/ 4 w 21"/>
                <a:gd name="T27" fmla="*/ 2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27">
                  <a:moveTo>
                    <a:pt x="19" y="27"/>
                  </a:moveTo>
                  <a:cubicBezTo>
                    <a:pt x="2" y="27"/>
                    <a:pt x="2" y="27"/>
                    <a:pt x="2" y="27"/>
                  </a:cubicBezTo>
                  <a:cubicBezTo>
                    <a:pt x="1" y="27"/>
                    <a:pt x="0" y="26"/>
                    <a:pt x="0" y="2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1"/>
                    <a:pt x="21" y="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6"/>
                    <a:pt x="20" y="27"/>
                    <a:pt x="19" y="27"/>
                  </a:cubicBezTo>
                  <a:close/>
                  <a:moveTo>
                    <a:pt x="4" y="22"/>
                  </a:moveTo>
                  <a:cubicBezTo>
                    <a:pt x="16" y="22"/>
                    <a:pt x="16" y="22"/>
                    <a:pt x="16" y="22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4" y="5"/>
                    <a:pt x="4" y="5"/>
                    <a:pt x="4" y="5"/>
                  </a:cubicBezTo>
                  <a:lnTo>
                    <a:pt x="4" y="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7" name="Freeform 542">
              <a:extLst>
                <a:ext uri="{FF2B5EF4-FFF2-40B4-BE49-F238E27FC236}">
                  <a16:creationId xmlns:a16="http://schemas.microsoft.com/office/drawing/2014/main" id="{B4CBEEAB-3FE0-364D-6C08-51B3FEB4A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300" y="3227399"/>
              <a:ext cx="146050" cy="11113"/>
            </a:xfrm>
            <a:custGeom>
              <a:avLst/>
              <a:gdLst>
                <a:gd name="T0" fmla="*/ 62 w 65"/>
                <a:gd name="T1" fmla="*/ 5 h 5"/>
                <a:gd name="T2" fmla="*/ 3 w 65"/>
                <a:gd name="T3" fmla="*/ 5 h 5"/>
                <a:gd name="T4" fmla="*/ 0 w 65"/>
                <a:gd name="T5" fmla="*/ 2 h 5"/>
                <a:gd name="T6" fmla="*/ 3 w 65"/>
                <a:gd name="T7" fmla="*/ 0 h 5"/>
                <a:gd name="T8" fmla="*/ 62 w 65"/>
                <a:gd name="T9" fmla="*/ 0 h 5"/>
                <a:gd name="T10" fmla="*/ 65 w 65"/>
                <a:gd name="T11" fmla="*/ 2 h 5"/>
                <a:gd name="T12" fmla="*/ 62 w 65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5">
                  <a:moveTo>
                    <a:pt x="62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4" y="0"/>
                    <a:pt x="65" y="1"/>
                    <a:pt x="65" y="2"/>
                  </a:cubicBezTo>
                  <a:cubicBezTo>
                    <a:pt x="65" y="4"/>
                    <a:pt x="64" y="5"/>
                    <a:pt x="6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8" name="Freeform 543">
              <a:extLst>
                <a:ext uri="{FF2B5EF4-FFF2-40B4-BE49-F238E27FC236}">
                  <a16:creationId xmlns:a16="http://schemas.microsoft.com/office/drawing/2014/main" id="{B720E762-92BE-54ED-B649-BB6E375BCA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287" y="3084523"/>
              <a:ext cx="36513" cy="36513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5 h 16"/>
                <a:gd name="T12" fmla="*/ 5 w 16"/>
                <a:gd name="T13" fmla="*/ 8 h 16"/>
                <a:gd name="T14" fmla="*/ 8 w 16"/>
                <a:gd name="T15" fmla="*/ 11 h 16"/>
                <a:gd name="T16" fmla="*/ 11 w 16"/>
                <a:gd name="T17" fmla="*/ 8 h 16"/>
                <a:gd name="T18" fmla="*/ 8 w 16"/>
                <a:gd name="T19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lose/>
                  <a:moveTo>
                    <a:pt x="8" y="5"/>
                  </a:moveTo>
                  <a:cubicBezTo>
                    <a:pt x="6" y="5"/>
                    <a:pt x="5" y="7"/>
                    <a:pt x="5" y="8"/>
                  </a:cubicBezTo>
                  <a:cubicBezTo>
                    <a:pt x="5" y="10"/>
                    <a:pt x="6" y="11"/>
                    <a:pt x="8" y="11"/>
                  </a:cubicBezTo>
                  <a:cubicBezTo>
                    <a:pt x="10" y="11"/>
                    <a:pt x="11" y="10"/>
                    <a:pt x="11" y="8"/>
                  </a:cubicBezTo>
                  <a:cubicBezTo>
                    <a:pt x="11" y="7"/>
                    <a:pt x="10" y="5"/>
                    <a:pt x="8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9" name="Freeform 544">
              <a:extLst>
                <a:ext uri="{FF2B5EF4-FFF2-40B4-BE49-F238E27FC236}">
                  <a16:creationId xmlns:a16="http://schemas.microsoft.com/office/drawing/2014/main" id="{04972E91-4E5E-3208-0C16-FFD100EF59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725" y="3084523"/>
              <a:ext cx="34925" cy="36513"/>
            </a:xfrm>
            <a:custGeom>
              <a:avLst/>
              <a:gdLst>
                <a:gd name="T0" fmla="*/ 7 w 15"/>
                <a:gd name="T1" fmla="*/ 16 h 16"/>
                <a:gd name="T2" fmla="*/ 0 w 15"/>
                <a:gd name="T3" fmla="*/ 8 h 16"/>
                <a:gd name="T4" fmla="*/ 7 w 15"/>
                <a:gd name="T5" fmla="*/ 0 h 16"/>
                <a:gd name="T6" fmla="*/ 15 w 15"/>
                <a:gd name="T7" fmla="*/ 8 h 16"/>
                <a:gd name="T8" fmla="*/ 7 w 15"/>
                <a:gd name="T9" fmla="*/ 16 h 16"/>
                <a:gd name="T10" fmla="*/ 7 w 15"/>
                <a:gd name="T11" fmla="*/ 5 h 16"/>
                <a:gd name="T12" fmla="*/ 4 w 15"/>
                <a:gd name="T13" fmla="*/ 8 h 16"/>
                <a:gd name="T14" fmla="*/ 7 w 15"/>
                <a:gd name="T15" fmla="*/ 11 h 16"/>
                <a:gd name="T16" fmla="*/ 10 w 15"/>
                <a:gd name="T17" fmla="*/ 8 h 16"/>
                <a:gd name="T18" fmla="*/ 7 w 15"/>
                <a:gd name="T19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16">
                  <a:moveTo>
                    <a:pt x="7" y="16"/>
                  </a:moveTo>
                  <a:cubicBezTo>
                    <a:pt x="3" y="16"/>
                    <a:pt x="0" y="12"/>
                    <a:pt x="0" y="8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12" y="0"/>
                    <a:pt x="15" y="4"/>
                    <a:pt x="15" y="8"/>
                  </a:cubicBezTo>
                  <a:cubicBezTo>
                    <a:pt x="15" y="12"/>
                    <a:pt x="12" y="16"/>
                    <a:pt x="7" y="16"/>
                  </a:cubicBezTo>
                  <a:close/>
                  <a:moveTo>
                    <a:pt x="7" y="5"/>
                  </a:moveTo>
                  <a:cubicBezTo>
                    <a:pt x="6" y="5"/>
                    <a:pt x="4" y="7"/>
                    <a:pt x="4" y="8"/>
                  </a:cubicBezTo>
                  <a:cubicBezTo>
                    <a:pt x="4" y="10"/>
                    <a:pt x="6" y="11"/>
                    <a:pt x="7" y="11"/>
                  </a:cubicBezTo>
                  <a:cubicBezTo>
                    <a:pt x="9" y="11"/>
                    <a:pt x="10" y="10"/>
                    <a:pt x="10" y="8"/>
                  </a:cubicBezTo>
                  <a:cubicBezTo>
                    <a:pt x="10" y="7"/>
                    <a:pt x="9" y="5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0" name="Freeform 545">
              <a:extLst>
                <a:ext uri="{FF2B5EF4-FFF2-40B4-BE49-F238E27FC236}">
                  <a16:creationId xmlns:a16="http://schemas.microsoft.com/office/drawing/2014/main" id="{2F23CBC7-7DE0-EC70-E842-C524A2DB7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325" y="2949581"/>
              <a:ext cx="209550" cy="128589"/>
            </a:xfrm>
            <a:custGeom>
              <a:avLst/>
              <a:gdLst>
                <a:gd name="T0" fmla="*/ 90 w 93"/>
                <a:gd name="T1" fmla="*/ 57 h 57"/>
                <a:gd name="T2" fmla="*/ 28 w 93"/>
                <a:gd name="T3" fmla="*/ 57 h 57"/>
                <a:gd name="T4" fmla="*/ 26 w 93"/>
                <a:gd name="T5" fmla="*/ 55 h 57"/>
                <a:gd name="T6" fmla="*/ 16 w 93"/>
                <a:gd name="T7" fmla="*/ 5 h 57"/>
                <a:gd name="T8" fmla="*/ 3 w 93"/>
                <a:gd name="T9" fmla="*/ 5 h 57"/>
                <a:gd name="T10" fmla="*/ 0 w 93"/>
                <a:gd name="T11" fmla="*/ 3 h 57"/>
                <a:gd name="T12" fmla="*/ 3 w 93"/>
                <a:gd name="T13" fmla="*/ 0 h 57"/>
                <a:gd name="T14" fmla="*/ 18 w 93"/>
                <a:gd name="T15" fmla="*/ 0 h 57"/>
                <a:gd name="T16" fmla="*/ 20 w 93"/>
                <a:gd name="T17" fmla="*/ 2 h 57"/>
                <a:gd name="T18" fmla="*/ 30 w 93"/>
                <a:gd name="T19" fmla="*/ 52 h 57"/>
                <a:gd name="T20" fmla="*/ 90 w 93"/>
                <a:gd name="T21" fmla="*/ 52 h 57"/>
                <a:gd name="T22" fmla="*/ 93 w 93"/>
                <a:gd name="T23" fmla="*/ 55 h 57"/>
                <a:gd name="T24" fmla="*/ 90 w 93"/>
                <a:gd name="T2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3" h="57">
                  <a:moveTo>
                    <a:pt x="90" y="57"/>
                  </a:moveTo>
                  <a:cubicBezTo>
                    <a:pt x="28" y="57"/>
                    <a:pt x="28" y="57"/>
                    <a:pt x="28" y="57"/>
                  </a:cubicBezTo>
                  <a:cubicBezTo>
                    <a:pt x="27" y="57"/>
                    <a:pt x="26" y="56"/>
                    <a:pt x="26" y="5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2" y="52"/>
                    <a:pt x="93" y="53"/>
                    <a:pt x="93" y="55"/>
                  </a:cubicBezTo>
                  <a:cubicBezTo>
                    <a:pt x="93" y="56"/>
                    <a:pt x="92" y="57"/>
                    <a:pt x="90" y="5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1" name="Freeform 546">
              <a:extLst>
                <a:ext uri="{FF2B5EF4-FFF2-40B4-BE49-F238E27FC236}">
                  <a16:creationId xmlns:a16="http://schemas.microsoft.com/office/drawing/2014/main" id="{E34A079C-2E6B-6009-E314-098C7380F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425" y="2967043"/>
              <a:ext cx="176213" cy="84138"/>
            </a:xfrm>
            <a:custGeom>
              <a:avLst/>
              <a:gdLst>
                <a:gd name="T0" fmla="*/ 73 w 78"/>
                <a:gd name="T1" fmla="*/ 37 h 37"/>
                <a:gd name="T2" fmla="*/ 9 w 78"/>
                <a:gd name="T3" fmla="*/ 37 h 37"/>
                <a:gd name="T4" fmla="*/ 6 w 78"/>
                <a:gd name="T5" fmla="*/ 35 h 37"/>
                <a:gd name="T6" fmla="*/ 9 w 78"/>
                <a:gd name="T7" fmla="*/ 32 h 37"/>
                <a:gd name="T8" fmla="*/ 70 w 78"/>
                <a:gd name="T9" fmla="*/ 32 h 37"/>
                <a:gd name="T10" fmla="*/ 73 w 78"/>
                <a:gd name="T11" fmla="*/ 9 h 37"/>
                <a:gd name="T12" fmla="*/ 2 w 78"/>
                <a:gd name="T13" fmla="*/ 5 h 37"/>
                <a:gd name="T14" fmla="*/ 0 w 78"/>
                <a:gd name="T15" fmla="*/ 2 h 37"/>
                <a:gd name="T16" fmla="*/ 2 w 78"/>
                <a:gd name="T17" fmla="*/ 0 h 37"/>
                <a:gd name="T18" fmla="*/ 76 w 78"/>
                <a:gd name="T19" fmla="*/ 4 h 37"/>
                <a:gd name="T20" fmla="*/ 78 w 78"/>
                <a:gd name="T21" fmla="*/ 5 h 37"/>
                <a:gd name="T22" fmla="*/ 78 w 78"/>
                <a:gd name="T23" fmla="*/ 7 h 37"/>
                <a:gd name="T24" fmla="*/ 75 w 78"/>
                <a:gd name="T25" fmla="*/ 35 h 37"/>
                <a:gd name="T26" fmla="*/ 73 w 78"/>
                <a:gd name="T2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8" h="37">
                  <a:moveTo>
                    <a:pt x="73" y="37"/>
                  </a:moveTo>
                  <a:cubicBezTo>
                    <a:pt x="9" y="37"/>
                    <a:pt x="9" y="37"/>
                    <a:pt x="9" y="37"/>
                  </a:cubicBezTo>
                  <a:cubicBezTo>
                    <a:pt x="8" y="37"/>
                    <a:pt x="6" y="36"/>
                    <a:pt x="6" y="35"/>
                  </a:cubicBezTo>
                  <a:cubicBezTo>
                    <a:pt x="6" y="33"/>
                    <a:pt x="8" y="32"/>
                    <a:pt x="9" y="32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7" y="4"/>
                    <a:pt x="77" y="4"/>
                    <a:pt x="78" y="5"/>
                  </a:cubicBezTo>
                  <a:cubicBezTo>
                    <a:pt x="78" y="5"/>
                    <a:pt x="78" y="6"/>
                    <a:pt x="78" y="7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5" y="36"/>
                    <a:pt x="74" y="37"/>
                    <a:pt x="73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2" name="Freeform 547">
              <a:extLst>
                <a:ext uri="{FF2B5EF4-FFF2-40B4-BE49-F238E27FC236}">
                  <a16:creationId xmlns:a16="http://schemas.microsoft.com/office/drawing/2014/main" id="{35F96E7F-5F86-44E0-F94D-E774ED1DC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537" y="3141663"/>
              <a:ext cx="407988" cy="9525"/>
            </a:xfrm>
            <a:custGeom>
              <a:avLst/>
              <a:gdLst>
                <a:gd name="T0" fmla="*/ 178 w 181"/>
                <a:gd name="T1" fmla="*/ 4 h 4"/>
                <a:gd name="T2" fmla="*/ 2 w 181"/>
                <a:gd name="T3" fmla="*/ 4 h 4"/>
                <a:gd name="T4" fmla="*/ 0 w 181"/>
                <a:gd name="T5" fmla="*/ 2 h 4"/>
                <a:gd name="T6" fmla="*/ 2 w 181"/>
                <a:gd name="T7" fmla="*/ 0 h 4"/>
                <a:gd name="T8" fmla="*/ 178 w 181"/>
                <a:gd name="T9" fmla="*/ 0 h 4"/>
                <a:gd name="T10" fmla="*/ 181 w 181"/>
                <a:gd name="T11" fmla="*/ 2 h 4"/>
                <a:gd name="T12" fmla="*/ 178 w 181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4">
                  <a:moveTo>
                    <a:pt x="17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180" y="0"/>
                    <a:pt x="181" y="1"/>
                    <a:pt x="181" y="2"/>
                  </a:cubicBezTo>
                  <a:cubicBezTo>
                    <a:pt x="181" y="3"/>
                    <a:pt x="180" y="4"/>
                    <a:pt x="178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93" name="Shape71_20200717_142846">
            <a:extLst>
              <a:ext uri="{FF2B5EF4-FFF2-40B4-BE49-F238E27FC236}">
                <a16:creationId xmlns:a16="http://schemas.microsoft.com/office/drawing/2014/main" id="{03F2F80E-79E4-E6AF-449F-6DBA3AD84C1E}"/>
              </a:ext>
            </a:extLst>
          </p:cNvPr>
          <p:cNvGrpSpPr>
            <a:grpSpLocks noChangeAspect="1"/>
          </p:cNvGrpSpPr>
          <p:nvPr/>
        </p:nvGrpSpPr>
        <p:grpSpPr>
          <a:xfrm>
            <a:off x="9853142" y="3821616"/>
            <a:ext cx="319047" cy="626089"/>
            <a:chOff x="-1943098" y="2119313"/>
            <a:chExt cx="211138" cy="414331"/>
          </a:xfrm>
          <a:solidFill>
            <a:schemeClr val="accent1"/>
          </a:solidFill>
        </p:grpSpPr>
        <p:sp>
          <p:nvSpPr>
            <p:cNvPr id="394" name="Freeform 553">
              <a:extLst>
                <a:ext uri="{FF2B5EF4-FFF2-40B4-BE49-F238E27FC236}">
                  <a16:creationId xmlns:a16="http://schemas.microsoft.com/office/drawing/2014/main" id="{BA52BA30-E04F-3D5D-1264-46392F98A5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43098" y="2208207"/>
              <a:ext cx="211138" cy="325437"/>
            </a:xfrm>
            <a:custGeom>
              <a:avLst/>
              <a:gdLst>
                <a:gd name="T0" fmla="*/ 77 w 94"/>
                <a:gd name="T1" fmla="*/ 144 h 144"/>
                <a:gd name="T2" fmla="*/ 17 w 94"/>
                <a:gd name="T3" fmla="*/ 144 h 144"/>
                <a:gd name="T4" fmla="*/ 8 w 94"/>
                <a:gd name="T5" fmla="*/ 136 h 144"/>
                <a:gd name="T6" fmla="*/ 0 w 94"/>
                <a:gd name="T7" fmla="*/ 85 h 144"/>
                <a:gd name="T8" fmla="*/ 0 w 94"/>
                <a:gd name="T9" fmla="*/ 85 h 144"/>
                <a:gd name="T10" fmla="*/ 0 w 94"/>
                <a:gd name="T11" fmla="*/ 15 h 144"/>
                <a:gd name="T12" fmla="*/ 15 w 94"/>
                <a:gd name="T13" fmla="*/ 0 h 144"/>
                <a:gd name="T14" fmla="*/ 79 w 94"/>
                <a:gd name="T15" fmla="*/ 0 h 144"/>
                <a:gd name="T16" fmla="*/ 94 w 94"/>
                <a:gd name="T17" fmla="*/ 15 h 144"/>
                <a:gd name="T18" fmla="*/ 94 w 94"/>
                <a:gd name="T19" fmla="*/ 85 h 144"/>
                <a:gd name="T20" fmla="*/ 94 w 94"/>
                <a:gd name="T21" fmla="*/ 85 h 144"/>
                <a:gd name="T22" fmla="*/ 86 w 94"/>
                <a:gd name="T23" fmla="*/ 136 h 144"/>
                <a:gd name="T24" fmla="*/ 77 w 94"/>
                <a:gd name="T25" fmla="*/ 144 h 144"/>
                <a:gd name="T26" fmla="*/ 5 w 94"/>
                <a:gd name="T27" fmla="*/ 85 h 144"/>
                <a:gd name="T28" fmla="*/ 13 w 94"/>
                <a:gd name="T29" fmla="*/ 135 h 144"/>
                <a:gd name="T30" fmla="*/ 17 w 94"/>
                <a:gd name="T31" fmla="*/ 139 h 144"/>
                <a:gd name="T32" fmla="*/ 77 w 94"/>
                <a:gd name="T33" fmla="*/ 139 h 144"/>
                <a:gd name="T34" fmla="*/ 81 w 94"/>
                <a:gd name="T35" fmla="*/ 135 h 144"/>
                <a:gd name="T36" fmla="*/ 89 w 94"/>
                <a:gd name="T37" fmla="*/ 85 h 144"/>
                <a:gd name="T38" fmla="*/ 89 w 94"/>
                <a:gd name="T39" fmla="*/ 15 h 144"/>
                <a:gd name="T40" fmla="*/ 79 w 94"/>
                <a:gd name="T41" fmla="*/ 5 h 144"/>
                <a:gd name="T42" fmla="*/ 15 w 94"/>
                <a:gd name="T43" fmla="*/ 5 h 144"/>
                <a:gd name="T44" fmla="*/ 5 w 94"/>
                <a:gd name="T45" fmla="*/ 15 h 144"/>
                <a:gd name="T46" fmla="*/ 5 w 94"/>
                <a:gd name="T47" fmla="*/ 85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4" h="144">
                  <a:moveTo>
                    <a:pt x="77" y="144"/>
                  </a:moveTo>
                  <a:cubicBezTo>
                    <a:pt x="17" y="144"/>
                    <a:pt x="17" y="144"/>
                    <a:pt x="17" y="144"/>
                  </a:cubicBezTo>
                  <a:cubicBezTo>
                    <a:pt x="12" y="144"/>
                    <a:pt x="8" y="140"/>
                    <a:pt x="8" y="13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7" y="0"/>
                    <a:pt x="94" y="7"/>
                    <a:pt x="94" y="15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86" y="136"/>
                    <a:pt x="86" y="136"/>
                    <a:pt x="86" y="136"/>
                  </a:cubicBezTo>
                  <a:cubicBezTo>
                    <a:pt x="85" y="140"/>
                    <a:pt x="82" y="144"/>
                    <a:pt x="77" y="144"/>
                  </a:cubicBezTo>
                  <a:close/>
                  <a:moveTo>
                    <a:pt x="5" y="85"/>
                  </a:moveTo>
                  <a:cubicBezTo>
                    <a:pt x="13" y="135"/>
                    <a:pt x="13" y="135"/>
                    <a:pt x="13" y="135"/>
                  </a:cubicBezTo>
                  <a:cubicBezTo>
                    <a:pt x="13" y="137"/>
                    <a:pt x="15" y="139"/>
                    <a:pt x="17" y="139"/>
                  </a:cubicBezTo>
                  <a:cubicBezTo>
                    <a:pt x="77" y="139"/>
                    <a:pt x="77" y="139"/>
                    <a:pt x="77" y="139"/>
                  </a:cubicBezTo>
                  <a:cubicBezTo>
                    <a:pt x="79" y="139"/>
                    <a:pt x="81" y="137"/>
                    <a:pt x="81" y="135"/>
                  </a:cubicBezTo>
                  <a:cubicBezTo>
                    <a:pt x="89" y="85"/>
                    <a:pt x="89" y="85"/>
                    <a:pt x="89" y="8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9"/>
                    <a:pt x="85" y="5"/>
                    <a:pt x="79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9" y="5"/>
                    <a:pt x="5" y="9"/>
                    <a:pt x="5" y="15"/>
                  </a:cubicBezTo>
                  <a:lnTo>
                    <a:pt x="5" y="8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5" name="Freeform 554">
              <a:extLst>
                <a:ext uri="{FF2B5EF4-FFF2-40B4-BE49-F238E27FC236}">
                  <a16:creationId xmlns:a16="http://schemas.microsoft.com/office/drawing/2014/main" id="{64A798F5-5C49-1965-10F2-D5DC09C083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11344" y="2239957"/>
              <a:ext cx="147638" cy="149225"/>
            </a:xfrm>
            <a:custGeom>
              <a:avLst/>
              <a:gdLst>
                <a:gd name="T0" fmla="*/ 61 w 66"/>
                <a:gd name="T1" fmla="*/ 66 h 66"/>
                <a:gd name="T2" fmla="*/ 5 w 66"/>
                <a:gd name="T3" fmla="*/ 66 h 66"/>
                <a:gd name="T4" fmla="*/ 0 w 66"/>
                <a:gd name="T5" fmla="*/ 61 h 66"/>
                <a:gd name="T6" fmla="*/ 0 w 66"/>
                <a:gd name="T7" fmla="*/ 6 h 66"/>
                <a:gd name="T8" fmla="*/ 6 w 66"/>
                <a:gd name="T9" fmla="*/ 0 h 66"/>
                <a:gd name="T10" fmla="*/ 61 w 66"/>
                <a:gd name="T11" fmla="*/ 0 h 66"/>
                <a:gd name="T12" fmla="*/ 66 w 66"/>
                <a:gd name="T13" fmla="*/ 5 h 66"/>
                <a:gd name="T14" fmla="*/ 66 w 66"/>
                <a:gd name="T15" fmla="*/ 61 h 66"/>
                <a:gd name="T16" fmla="*/ 61 w 66"/>
                <a:gd name="T17" fmla="*/ 66 h 66"/>
                <a:gd name="T18" fmla="*/ 61 w 66"/>
                <a:gd name="T19" fmla="*/ 5 h 66"/>
                <a:gd name="T20" fmla="*/ 6 w 66"/>
                <a:gd name="T21" fmla="*/ 5 h 66"/>
                <a:gd name="T22" fmla="*/ 5 w 66"/>
                <a:gd name="T23" fmla="*/ 6 h 66"/>
                <a:gd name="T24" fmla="*/ 5 w 66"/>
                <a:gd name="T25" fmla="*/ 61 h 66"/>
                <a:gd name="T26" fmla="*/ 61 w 66"/>
                <a:gd name="T27" fmla="*/ 61 h 66"/>
                <a:gd name="T28" fmla="*/ 61 w 66"/>
                <a:gd name="T29" fmla="*/ 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66">
                  <a:moveTo>
                    <a:pt x="61" y="66"/>
                  </a:moveTo>
                  <a:cubicBezTo>
                    <a:pt x="5" y="66"/>
                    <a:pt x="5" y="66"/>
                    <a:pt x="5" y="66"/>
                  </a:cubicBezTo>
                  <a:cubicBezTo>
                    <a:pt x="2" y="66"/>
                    <a:pt x="0" y="64"/>
                    <a:pt x="0" y="6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4" y="0"/>
                    <a:pt x="66" y="2"/>
                    <a:pt x="66" y="5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64"/>
                    <a:pt x="64" y="66"/>
                    <a:pt x="61" y="66"/>
                  </a:cubicBezTo>
                  <a:close/>
                  <a:moveTo>
                    <a:pt x="61" y="5"/>
                  </a:moveTo>
                  <a:cubicBezTo>
                    <a:pt x="6" y="5"/>
                    <a:pt x="6" y="5"/>
                    <a:pt x="6" y="5"/>
                  </a:cubicBezTo>
                  <a:cubicBezTo>
                    <a:pt x="5" y="5"/>
                    <a:pt x="5" y="5"/>
                    <a:pt x="5" y="6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61" y="61"/>
                    <a:pt x="61" y="61"/>
                    <a:pt x="61" y="61"/>
                  </a:cubicBezTo>
                  <a:lnTo>
                    <a:pt x="61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6" name="Freeform 555">
              <a:extLst>
                <a:ext uri="{FF2B5EF4-FFF2-40B4-BE49-F238E27FC236}">
                  <a16:creationId xmlns:a16="http://schemas.microsoft.com/office/drawing/2014/main" id="{50093992-8C88-26C1-4D93-BCAF14C7D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03406" y="2411406"/>
              <a:ext cx="36513" cy="25400"/>
            </a:xfrm>
            <a:custGeom>
              <a:avLst/>
              <a:gdLst>
                <a:gd name="T0" fmla="*/ 13 w 16"/>
                <a:gd name="T1" fmla="*/ 11 h 11"/>
                <a:gd name="T2" fmla="*/ 11 w 16"/>
                <a:gd name="T3" fmla="*/ 8 h 11"/>
                <a:gd name="T4" fmla="*/ 11 w 16"/>
                <a:gd name="T5" fmla="*/ 5 h 11"/>
                <a:gd name="T6" fmla="*/ 5 w 16"/>
                <a:gd name="T7" fmla="*/ 5 h 11"/>
                <a:gd name="T8" fmla="*/ 5 w 16"/>
                <a:gd name="T9" fmla="*/ 8 h 11"/>
                <a:gd name="T10" fmla="*/ 2 w 16"/>
                <a:gd name="T11" fmla="*/ 11 h 11"/>
                <a:gd name="T12" fmla="*/ 0 w 16"/>
                <a:gd name="T13" fmla="*/ 8 h 11"/>
                <a:gd name="T14" fmla="*/ 0 w 16"/>
                <a:gd name="T15" fmla="*/ 3 h 11"/>
                <a:gd name="T16" fmla="*/ 2 w 16"/>
                <a:gd name="T17" fmla="*/ 0 h 11"/>
                <a:gd name="T18" fmla="*/ 13 w 16"/>
                <a:gd name="T19" fmla="*/ 0 h 11"/>
                <a:gd name="T20" fmla="*/ 16 w 16"/>
                <a:gd name="T21" fmla="*/ 3 h 11"/>
                <a:gd name="T22" fmla="*/ 16 w 16"/>
                <a:gd name="T23" fmla="*/ 8 h 11"/>
                <a:gd name="T24" fmla="*/ 13 w 16"/>
                <a:gd name="T2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1">
                  <a:moveTo>
                    <a:pt x="13" y="11"/>
                  </a:moveTo>
                  <a:cubicBezTo>
                    <a:pt x="12" y="11"/>
                    <a:pt x="11" y="10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4" y="11"/>
                    <a:pt x="2" y="11"/>
                  </a:cubicBezTo>
                  <a:cubicBezTo>
                    <a:pt x="1" y="11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5" y="0"/>
                    <a:pt x="16" y="1"/>
                    <a:pt x="16" y="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10"/>
                    <a:pt x="15" y="11"/>
                    <a:pt x="1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7" name="Freeform 556">
              <a:extLst>
                <a:ext uri="{FF2B5EF4-FFF2-40B4-BE49-F238E27FC236}">
                  <a16:creationId xmlns:a16="http://schemas.microsoft.com/office/drawing/2014/main" id="{8516DB7A-BE3C-E60A-F3E1-CBBA15B6A5A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55782" y="2411406"/>
              <a:ext cx="36513" cy="25400"/>
            </a:xfrm>
            <a:custGeom>
              <a:avLst/>
              <a:gdLst>
                <a:gd name="T0" fmla="*/ 14 w 16"/>
                <a:gd name="T1" fmla="*/ 11 h 11"/>
                <a:gd name="T2" fmla="*/ 11 w 16"/>
                <a:gd name="T3" fmla="*/ 8 h 11"/>
                <a:gd name="T4" fmla="*/ 11 w 16"/>
                <a:gd name="T5" fmla="*/ 5 h 11"/>
                <a:gd name="T6" fmla="*/ 5 w 16"/>
                <a:gd name="T7" fmla="*/ 5 h 11"/>
                <a:gd name="T8" fmla="*/ 5 w 16"/>
                <a:gd name="T9" fmla="*/ 8 h 11"/>
                <a:gd name="T10" fmla="*/ 2 w 16"/>
                <a:gd name="T11" fmla="*/ 11 h 11"/>
                <a:gd name="T12" fmla="*/ 0 w 16"/>
                <a:gd name="T13" fmla="*/ 8 h 11"/>
                <a:gd name="T14" fmla="*/ 0 w 16"/>
                <a:gd name="T15" fmla="*/ 3 h 11"/>
                <a:gd name="T16" fmla="*/ 2 w 16"/>
                <a:gd name="T17" fmla="*/ 0 h 11"/>
                <a:gd name="T18" fmla="*/ 14 w 16"/>
                <a:gd name="T19" fmla="*/ 0 h 11"/>
                <a:gd name="T20" fmla="*/ 16 w 16"/>
                <a:gd name="T21" fmla="*/ 3 h 11"/>
                <a:gd name="T22" fmla="*/ 16 w 16"/>
                <a:gd name="T23" fmla="*/ 8 h 11"/>
                <a:gd name="T24" fmla="*/ 14 w 16"/>
                <a:gd name="T2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1">
                  <a:moveTo>
                    <a:pt x="14" y="11"/>
                  </a:moveTo>
                  <a:cubicBezTo>
                    <a:pt x="12" y="11"/>
                    <a:pt x="11" y="10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4" y="11"/>
                    <a:pt x="2" y="11"/>
                  </a:cubicBezTo>
                  <a:cubicBezTo>
                    <a:pt x="1" y="11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10"/>
                    <a:pt x="15" y="11"/>
                    <a:pt x="1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8" name="Freeform 557">
              <a:extLst>
                <a:ext uri="{FF2B5EF4-FFF2-40B4-BE49-F238E27FC236}">
                  <a16:creationId xmlns:a16="http://schemas.microsoft.com/office/drawing/2014/main" id="{1C9CFC17-C0DE-8F0E-5285-48BE8FE173D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08157" y="2411406"/>
              <a:ext cx="36513" cy="25400"/>
            </a:xfrm>
            <a:custGeom>
              <a:avLst/>
              <a:gdLst>
                <a:gd name="T0" fmla="*/ 14 w 16"/>
                <a:gd name="T1" fmla="*/ 11 h 11"/>
                <a:gd name="T2" fmla="*/ 11 w 16"/>
                <a:gd name="T3" fmla="*/ 8 h 11"/>
                <a:gd name="T4" fmla="*/ 11 w 16"/>
                <a:gd name="T5" fmla="*/ 5 h 11"/>
                <a:gd name="T6" fmla="*/ 5 w 16"/>
                <a:gd name="T7" fmla="*/ 5 h 11"/>
                <a:gd name="T8" fmla="*/ 5 w 16"/>
                <a:gd name="T9" fmla="*/ 8 h 11"/>
                <a:gd name="T10" fmla="*/ 2 w 16"/>
                <a:gd name="T11" fmla="*/ 11 h 11"/>
                <a:gd name="T12" fmla="*/ 0 w 16"/>
                <a:gd name="T13" fmla="*/ 8 h 11"/>
                <a:gd name="T14" fmla="*/ 0 w 16"/>
                <a:gd name="T15" fmla="*/ 3 h 11"/>
                <a:gd name="T16" fmla="*/ 2 w 16"/>
                <a:gd name="T17" fmla="*/ 0 h 11"/>
                <a:gd name="T18" fmla="*/ 14 w 16"/>
                <a:gd name="T19" fmla="*/ 0 h 11"/>
                <a:gd name="T20" fmla="*/ 16 w 16"/>
                <a:gd name="T21" fmla="*/ 3 h 11"/>
                <a:gd name="T22" fmla="*/ 16 w 16"/>
                <a:gd name="T23" fmla="*/ 8 h 11"/>
                <a:gd name="T24" fmla="*/ 14 w 16"/>
                <a:gd name="T2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1">
                  <a:moveTo>
                    <a:pt x="14" y="11"/>
                  </a:moveTo>
                  <a:cubicBezTo>
                    <a:pt x="12" y="11"/>
                    <a:pt x="11" y="10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4" y="11"/>
                    <a:pt x="2" y="11"/>
                  </a:cubicBezTo>
                  <a:cubicBezTo>
                    <a:pt x="1" y="11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10"/>
                    <a:pt x="15" y="11"/>
                    <a:pt x="1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9" name="Freeform 558">
              <a:extLst>
                <a:ext uri="{FF2B5EF4-FFF2-40B4-BE49-F238E27FC236}">
                  <a16:creationId xmlns:a16="http://schemas.microsoft.com/office/drawing/2014/main" id="{E9BE42CC-B33C-2CC5-030C-55B2A0933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03406" y="2443156"/>
              <a:ext cx="36513" cy="22225"/>
            </a:xfrm>
            <a:custGeom>
              <a:avLst/>
              <a:gdLst>
                <a:gd name="T0" fmla="*/ 13 w 16"/>
                <a:gd name="T1" fmla="*/ 10 h 10"/>
                <a:gd name="T2" fmla="*/ 11 w 16"/>
                <a:gd name="T3" fmla="*/ 8 h 10"/>
                <a:gd name="T4" fmla="*/ 11 w 16"/>
                <a:gd name="T5" fmla="*/ 5 h 10"/>
                <a:gd name="T6" fmla="*/ 5 w 16"/>
                <a:gd name="T7" fmla="*/ 5 h 10"/>
                <a:gd name="T8" fmla="*/ 5 w 16"/>
                <a:gd name="T9" fmla="*/ 8 h 10"/>
                <a:gd name="T10" fmla="*/ 2 w 16"/>
                <a:gd name="T11" fmla="*/ 10 h 10"/>
                <a:gd name="T12" fmla="*/ 0 w 16"/>
                <a:gd name="T13" fmla="*/ 8 h 10"/>
                <a:gd name="T14" fmla="*/ 0 w 16"/>
                <a:gd name="T15" fmla="*/ 2 h 10"/>
                <a:gd name="T16" fmla="*/ 2 w 16"/>
                <a:gd name="T17" fmla="*/ 0 h 10"/>
                <a:gd name="T18" fmla="*/ 13 w 16"/>
                <a:gd name="T19" fmla="*/ 0 h 10"/>
                <a:gd name="T20" fmla="*/ 16 w 16"/>
                <a:gd name="T21" fmla="*/ 2 h 10"/>
                <a:gd name="T22" fmla="*/ 16 w 16"/>
                <a:gd name="T23" fmla="*/ 8 h 10"/>
                <a:gd name="T24" fmla="*/ 13 w 16"/>
                <a:gd name="T2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0">
                  <a:moveTo>
                    <a:pt x="13" y="10"/>
                  </a:moveTo>
                  <a:cubicBezTo>
                    <a:pt x="12" y="10"/>
                    <a:pt x="11" y="9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4" y="10"/>
                    <a:pt x="2" y="10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9"/>
                    <a:pt x="15" y="10"/>
                    <a:pt x="1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0" name="Freeform 559">
              <a:extLst>
                <a:ext uri="{FF2B5EF4-FFF2-40B4-BE49-F238E27FC236}">
                  <a16:creationId xmlns:a16="http://schemas.microsoft.com/office/drawing/2014/main" id="{DC85F0C5-5638-5BCF-8DEC-6B8F7CE26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55782" y="2443156"/>
              <a:ext cx="36513" cy="22225"/>
            </a:xfrm>
            <a:custGeom>
              <a:avLst/>
              <a:gdLst>
                <a:gd name="T0" fmla="*/ 14 w 16"/>
                <a:gd name="T1" fmla="*/ 10 h 10"/>
                <a:gd name="T2" fmla="*/ 11 w 16"/>
                <a:gd name="T3" fmla="*/ 8 h 10"/>
                <a:gd name="T4" fmla="*/ 11 w 16"/>
                <a:gd name="T5" fmla="*/ 5 h 10"/>
                <a:gd name="T6" fmla="*/ 5 w 16"/>
                <a:gd name="T7" fmla="*/ 5 h 10"/>
                <a:gd name="T8" fmla="*/ 5 w 16"/>
                <a:gd name="T9" fmla="*/ 8 h 10"/>
                <a:gd name="T10" fmla="*/ 2 w 16"/>
                <a:gd name="T11" fmla="*/ 10 h 10"/>
                <a:gd name="T12" fmla="*/ 0 w 16"/>
                <a:gd name="T13" fmla="*/ 8 h 10"/>
                <a:gd name="T14" fmla="*/ 0 w 16"/>
                <a:gd name="T15" fmla="*/ 2 h 10"/>
                <a:gd name="T16" fmla="*/ 2 w 16"/>
                <a:gd name="T17" fmla="*/ 0 h 10"/>
                <a:gd name="T18" fmla="*/ 14 w 16"/>
                <a:gd name="T19" fmla="*/ 0 h 10"/>
                <a:gd name="T20" fmla="*/ 16 w 16"/>
                <a:gd name="T21" fmla="*/ 2 h 10"/>
                <a:gd name="T22" fmla="*/ 16 w 16"/>
                <a:gd name="T23" fmla="*/ 8 h 10"/>
                <a:gd name="T24" fmla="*/ 14 w 16"/>
                <a:gd name="T2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0">
                  <a:moveTo>
                    <a:pt x="14" y="10"/>
                  </a:moveTo>
                  <a:cubicBezTo>
                    <a:pt x="12" y="10"/>
                    <a:pt x="11" y="9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4" y="10"/>
                    <a:pt x="2" y="10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9"/>
                    <a:pt x="15" y="10"/>
                    <a:pt x="1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1" name="Freeform 560">
              <a:extLst>
                <a:ext uri="{FF2B5EF4-FFF2-40B4-BE49-F238E27FC236}">
                  <a16:creationId xmlns:a16="http://schemas.microsoft.com/office/drawing/2014/main" id="{5FBE7C89-61C0-A117-B0D3-C704D79A0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08157" y="2443156"/>
              <a:ext cx="36513" cy="22225"/>
            </a:xfrm>
            <a:custGeom>
              <a:avLst/>
              <a:gdLst>
                <a:gd name="T0" fmla="*/ 14 w 16"/>
                <a:gd name="T1" fmla="*/ 10 h 10"/>
                <a:gd name="T2" fmla="*/ 11 w 16"/>
                <a:gd name="T3" fmla="*/ 8 h 10"/>
                <a:gd name="T4" fmla="*/ 11 w 16"/>
                <a:gd name="T5" fmla="*/ 5 h 10"/>
                <a:gd name="T6" fmla="*/ 5 w 16"/>
                <a:gd name="T7" fmla="*/ 5 h 10"/>
                <a:gd name="T8" fmla="*/ 5 w 16"/>
                <a:gd name="T9" fmla="*/ 8 h 10"/>
                <a:gd name="T10" fmla="*/ 2 w 16"/>
                <a:gd name="T11" fmla="*/ 10 h 10"/>
                <a:gd name="T12" fmla="*/ 0 w 16"/>
                <a:gd name="T13" fmla="*/ 8 h 10"/>
                <a:gd name="T14" fmla="*/ 0 w 16"/>
                <a:gd name="T15" fmla="*/ 2 h 10"/>
                <a:gd name="T16" fmla="*/ 2 w 16"/>
                <a:gd name="T17" fmla="*/ 0 h 10"/>
                <a:gd name="T18" fmla="*/ 14 w 16"/>
                <a:gd name="T19" fmla="*/ 0 h 10"/>
                <a:gd name="T20" fmla="*/ 16 w 16"/>
                <a:gd name="T21" fmla="*/ 2 h 10"/>
                <a:gd name="T22" fmla="*/ 16 w 16"/>
                <a:gd name="T23" fmla="*/ 8 h 10"/>
                <a:gd name="T24" fmla="*/ 14 w 16"/>
                <a:gd name="T2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0">
                  <a:moveTo>
                    <a:pt x="14" y="10"/>
                  </a:moveTo>
                  <a:cubicBezTo>
                    <a:pt x="12" y="10"/>
                    <a:pt x="11" y="9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4" y="10"/>
                    <a:pt x="2" y="10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9"/>
                    <a:pt x="15" y="10"/>
                    <a:pt x="1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2" name="Freeform 561">
              <a:extLst>
                <a:ext uri="{FF2B5EF4-FFF2-40B4-BE49-F238E27FC236}">
                  <a16:creationId xmlns:a16="http://schemas.microsoft.com/office/drawing/2014/main" id="{CBBD3387-8199-893C-47DA-F1B019F94B3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03409" y="2473318"/>
              <a:ext cx="36513" cy="23813"/>
            </a:xfrm>
            <a:custGeom>
              <a:avLst/>
              <a:gdLst>
                <a:gd name="T0" fmla="*/ 13 w 16"/>
                <a:gd name="T1" fmla="*/ 11 h 11"/>
                <a:gd name="T2" fmla="*/ 11 w 16"/>
                <a:gd name="T3" fmla="*/ 8 h 11"/>
                <a:gd name="T4" fmla="*/ 11 w 16"/>
                <a:gd name="T5" fmla="*/ 5 h 11"/>
                <a:gd name="T6" fmla="*/ 5 w 16"/>
                <a:gd name="T7" fmla="*/ 5 h 11"/>
                <a:gd name="T8" fmla="*/ 5 w 16"/>
                <a:gd name="T9" fmla="*/ 8 h 11"/>
                <a:gd name="T10" fmla="*/ 2 w 16"/>
                <a:gd name="T11" fmla="*/ 11 h 11"/>
                <a:gd name="T12" fmla="*/ 0 w 16"/>
                <a:gd name="T13" fmla="*/ 8 h 11"/>
                <a:gd name="T14" fmla="*/ 0 w 16"/>
                <a:gd name="T15" fmla="*/ 3 h 11"/>
                <a:gd name="T16" fmla="*/ 2 w 16"/>
                <a:gd name="T17" fmla="*/ 0 h 11"/>
                <a:gd name="T18" fmla="*/ 13 w 16"/>
                <a:gd name="T19" fmla="*/ 0 h 11"/>
                <a:gd name="T20" fmla="*/ 16 w 16"/>
                <a:gd name="T21" fmla="*/ 3 h 11"/>
                <a:gd name="T22" fmla="*/ 16 w 16"/>
                <a:gd name="T23" fmla="*/ 8 h 11"/>
                <a:gd name="T24" fmla="*/ 13 w 16"/>
                <a:gd name="T2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1">
                  <a:moveTo>
                    <a:pt x="13" y="11"/>
                  </a:moveTo>
                  <a:cubicBezTo>
                    <a:pt x="12" y="11"/>
                    <a:pt x="11" y="10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4" y="11"/>
                    <a:pt x="2" y="11"/>
                  </a:cubicBezTo>
                  <a:cubicBezTo>
                    <a:pt x="1" y="11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5" y="0"/>
                    <a:pt x="16" y="1"/>
                    <a:pt x="16" y="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10"/>
                    <a:pt x="15" y="11"/>
                    <a:pt x="1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3" name="Freeform 562">
              <a:extLst>
                <a:ext uri="{FF2B5EF4-FFF2-40B4-BE49-F238E27FC236}">
                  <a16:creationId xmlns:a16="http://schemas.microsoft.com/office/drawing/2014/main" id="{4618E18D-234A-AB67-EE3F-064C63D4034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55784" y="2473318"/>
              <a:ext cx="36513" cy="23813"/>
            </a:xfrm>
            <a:custGeom>
              <a:avLst/>
              <a:gdLst>
                <a:gd name="T0" fmla="*/ 14 w 16"/>
                <a:gd name="T1" fmla="*/ 11 h 11"/>
                <a:gd name="T2" fmla="*/ 11 w 16"/>
                <a:gd name="T3" fmla="*/ 8 h 11"/>
                <a:gd name="T4" fmla="*/ 11 w 16"/>
                <a:gd name="T5" fmla="*/ 5 h 11"/>
                <a:gd name="T6" fmla="*/ 5 w 16"/>
                <a:gd name="T7" fmla="*/ 5 h 11"/>
                <a:gd name="T8" fmla="*/ 5 w 16"/>
                <a:gd name="T9" fmla="*/ 8 h 11"/>
                <a:gd name="T10" fmla="*/ 2 w 16"/>
                <a:gd name="T11" fmla="*/ 11 h 11"/>
                <a:gd name="T12" fmla="*/ 0 w 16"/>
                <a:gd name="T13" fmla="*/ 8 h 11"/>
                <a:gd name="T14" fmla="*/ 0 w 16"/>
                <a:gd name="T15" fmla="*/ 3 h 11"/>
                <a:gd name="T16" fmla="*/ 2 w 16"/>
                <a:gd name="T17" fmla="*/ 0 h 11"/>
                <a:gd name="T18" fmla="*/ 14 w 16"/>
                <a:gd name="T19" fmla="*/ 0 h 11"/>
                <a:gd name="T20" fmla="*/ 16 w 16"/>
                <a:gd name="T21" fmla="*/ 3 h 11"/>
                <a:gd name="T22" fmla="*/ 16 w 16"/>
                <a:gd name="T23" fmla="*/ 8 h 11"/>
                <a:gd name="T24" fmla="*/ 14 w 16"/>
                <a:gd name="T2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1">
                  <a:moveTo>
                    <a:pt x="14" y="11"/>
                  </a:moveTo>
                  <a:cubicBezTo>
                    <a:pt x="12" y="11"/>
                    <a:pt x="11" y="10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4" y="11"/>
                    <a:pt x="2" y="11"/>
                  </a:cubicBezTo>
                  <a:cubicBezTo>
                    <a:pt x="1" y="11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10"/>
                    <a:pt x="15" y="11"/>
                    <a:pt x="1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4" name="Freeform 563">
              <a:extLst>
                <a:ext uri="{FF2B5EF4-FFF2-40B4-BE49-F238E27FC236}">
                  <a16:creationId xmlns:a16="http://schemas.microsoft.com/office/drawing/2014/main" id="{CA7827F0-0604-8445-B36A-87EDF376167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08160" y="2473320"/>
              <a:ext cx="36513" cy="23813"/>
            </a:xfrm>
            <a:custGeom>
              <a:avLst/>
              <a:gdLst>
                <a:gd name="T0" fmla="*/ 14 w 16"/>
                <a:gd name="T1" fmla="*/ 11 h 11"/>
                <a:gd name="T2" fmla="*/ 11 w 16"/>
                <a:gd name="T3" fmla="*/ 8 h 11"/>
                <a:gd name="T4" fmla="*/ 11 w 16"/>
                <a:gd name="T5" fmla="*/ 5 h 11"/>
                <a:gd name="T6" fmla="*/ 5 w 16"/>
                <a:gd name="T7" fmla="*/ 5 h 11"/>
                <a:gd name="T8" fmla="*/ 5 w 16"/>
                <a:gd name="T9" fmla="*/ 8 h 11"/>
                <a:gd name="T10" fmla="*/ 2 w 16"/>
                <a:gd name="T11" fmla="*/ 11 h 11"/>
                <a:gd name="T12" fmla="*/ 0 w 16"/>
                <a:gd name="T13" fmla="*/ 8 h 11"/>
                <a:gd name="T14" fmla="*/ 0 w 16"/>
                <a:gd name="T15" fmla="*/ 3 h 11"/>
                <a:gd name="T16" fmla="*/ 2 w 16"/>
                <a:gd name="T17" fmla="*/ 0 h 11"/>
                <a:gd name="T18" fmla="*/ 14 w 16"/>
                <a:gd name="T19" fmla="*/ 0 h 11"/>
                <a:gd name="T20" fmla="*/ 16 w 16"/>
                <a:gd name="T21" fmla="*/ 3 h 11"/>
                <a:gd name="T22" fmla="*/ 16 w 16"/>
                <a:gd name="T23" fmla="*/ 8 h 11"/>
                <a:gd name="T24" fmla="*/ 14 w 16"/>
                <a:gd name="T2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1">
                  <a:moveTo>
                    <a:pt x="14" y="11"/>
                  </a:moveTo>
                  <a:cubicBezTo>
                    <a:pt x="12" y="11"/>
                    <a:pt x="11" y="10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4" y="11"/>
                    <a:pt x="2" y="11"/>
                  </a:cubicBezTo>
                  <a:cubicBezTo>
                    <a:pt x="1" y="11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10"/>
                    <a:pt x="15" y="11"/>
                    <a:pt x="1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5" name="Freeform 564">
              <a:extLst>
                <a:ext uri="{FF2B5EF4-FFF2-40B4-BE49-F238E27FC236}">
                  <a16:creationId xmlns:a16="http://schemas.microsoft.com/office/drawing/2014/main" id="{8BD3F2CF-9DA0-7F1B-CE97-6DF87E7A8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00238" y="2119313"/>
              <a:ext cx="139700" cy="100013"/>
            </a:xfrm>
            <a:custGeom>
              <a:avLst/>
              <a:gdLst>
                <a:gd name="T0" fmla="*/ 54 w 62"/>
                <a:gd name="T1" fmla="*/ 44 h 44"/>
                <a:gd name="T2" fmla="*/ 2 w 62"/>
                <a:gd name="T3" fmla="*/ 44 h 44"/>
                <a:gd name="T4" fmla="*/ 0 w 62"/>
                <a:gd name="T5" fmla="*/ 42 h 44"/>
                <a:gd name="T6" fmla="*/ 0 w 62"/>
                <a:gd name="T7" fmla="*/ 25 h 44"/>
                <a:gd name="T8" fmla="*/ 6 w 62"/>
                <a:gd name="T9" fmla="*/ 2 h 44"/>
                <a:gd name="T10" fmla="*/ 8 w 62"/>
                <a:gd name="T11" fmla="*/ 0 h 44"/>
                <a:gd name="T12" fmla="*/ 60 w 62"/>
                <a:gd name="T13" fmla="*/ 0 h 44"/>
                <a:gd name="T14" fmla="*/ 62 w 62"/>
                <a:gd name="T15" fmla="*/ 2 h 44"/>
                <a:gd name="T16" fmla="*/ 62 w 62"/>
                <a:gd name="T17" fmla="*/ 4 h 44"/>
                <a:gd name="T18" fmla="*/ 56 w 62"/>
                <a:gd name="T19" fmla="*/ 25 h 44"/>
                <a:gd name="T20" fmla="*/ 56 w 62"/>
                <a:gd name="T21" fmla="*/ 42 h 44"/>
                <a:gd name="T22" fmla="*/ 54 w 62"/>
                <a:gd name="T23" fmla="*/ 44 h 44"/>
                <a:gd name="T24" fmla="*/ 5 w 62"/>
                <a:gd name="T25" fmla="*/ 39 h 44"/>
                <a:gd name="T26" fmla="*/ 51 w 62"/>
                <a:gd name="T27" fmla="*/ 39 h 44"/>
                <a:gd name="T28" fmla="*/ 51 w 62"/>
                <a:gd name="T29" fmla="*/ 25 h 44"/>
                <a:gd name="T30" fmla="*/ 56 w 62"/>
                <a:gd name="T31" fmla="*/ 5 h 44"/>
                <a:gd name="T32" fmla="*/ 10 w 62"/>
                <a:gd name="T33" fmla="*/ 5 h 44"/>
                <a:gd name="T34" fmla="*/ 5 w 62"/>
                <a:gd name="T35" fmla="*/ 25 h 44"/>
                <a:gd name="T36" fmla="*/ 5 w 62"/>
                <a:gd name="T37" fmla="*/ 3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2" h="44">
                  <a:moveTo>
                    <a:pt x="54" y="44"/>
                  </a:moveTo>
                  <a:cubicBezTo>
                    <a:pt x="2" y="44"/>
                    <a:pt x="2" y="44"/>
                    <a:pt x="2" y="44"/>
                  </a:cubicBezTo>
                  <a:cubicBezTo>
                    <a:pt x="1" y="44"/>
                    <a:pt x="0" y="43"/>
                    <a:pt x="0" y="4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7"/>
                    <a:pt x="2" y="9"/>
                    <a:pt x="6" y="2"/>
                  </a:cubicBezTo>
                  <a:cubicBezTo>
                    <a:pt x="6" y="1"/>
                    <a:pt x="7" y="0"/>
                    <a:pt x="8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1" y="1"/>
                    <a:pt x="62" y="2"/>
                  </a:cubicBezTo>
                  <a:cubicBezTo>
                    <a:pt x="62" y="2"/>
                    <a:pt x="62" y="3"/>
                    <a:pt x="62" y="4"/>
                  </a:cubicBezTo>
                  <a:cubicBezTo>
                    <a:pt x="58" y="10"/>
                    <a:pt x="56" y="17"/>
                    <a:pt x="56" y="25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56" y="43"/>
                    <a:pt x="55" y="44"/>
                    <a:pt x="54" y="44"/>
                  </a:cubicBezTo>
                  <a:close/>
                  <a:moveTo>
                    <a:pt x="5" y="39"/>
                  </a:moveTo>
                  <a:cubicBezTo>
                    <a:pt x="51" y="39"/>
                    <a:pt x="51" y="39"/>
                    <a:pt x="51" y="39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18"/>
                    <a:pt x="53" y="11"/>
                    <a:pt x="56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6" y="11"/>
                    <a:pt x="5" y="18"/>
                    <a:pt x="5" y="25"/>
                  </a:cubicBezTo>
                  <a:lnTo>
                    <a:pt x="5" y="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11" name="Shape43_20200717_142846">
            <a:extLst>
              <a:ext uri="{FF2B5EF4-FFF2-40B4-BE49-F238E27FC236}">
                <a16:creationId xmlns:a16="http://schemas.microsoft.com/office/drawing/2014/main" id="{4664D25F-DE95-3EC9-B5E3-BAE256C6392D}"/>
              </a:ext>
            </a:extLst>
          </p:cNvPr>
          <p:cNvGrpSpPr>
            <a:grpSpLocks noChangeAspect="1"/>
          </p:cNvGrpSpPr>
          <p:nvPr/>
        </p:nvGrpSpPr>
        <p:grpSpPr>
          <a:xfrm>
            <a:off x="11008768" y="1259674"/>
            <a:ext cx="618910" cy="527747"/>
            <a:chOff x="-2822578" y="1783724"/>
            <a:chExt cx="409580" cy="349249"/>
          </a:xfrm>
          <a:solidFill>
            <a:schemeClr val="accent1"/>
          </a:solidFill>
        </p:grpSpPr>
        <p:sp>
          <p:nvSpPr>
            <p:cNvPr id="412" name="Freeform 1412">
              <a:extLst>
                <a:ext uri="{FF2B5EF4-FFF2-40B4-BE49-F238E27FC236}">
                  <a16:creationId xmlns:a16="http://schemas.microsoft.com/office/drawing/2014/main" id="{0AF900C5-BF79-0733-FEF6-9095137470C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495549" y="2004385"/>
              <a:ext cx="11113" cy="107950"/>
            </a:xfrm>
            <a:custGeom>
              <a:avLst/>
              <a:gdLst>
                <a:gd name="T0" fmla="*/ 6 w 11"/>
                <a:gd name="T1" fmla="*/ 104 h 104"/>
                <a:gd name="T2" fmla="*/ 0 w 11"/>
                <a:gd name="T3" fmla="*/ 98 h 104"/>
                <a:gd name="T4" fmla="*/ 0 w 11"/>
                <a:gd name="T5" fmla="*/ 6 h 104"/>
                <a:gd name="T6" fmla="*/ 6 w 11"/>
                <a:gd name="T7" fmla="*/ 0 h 104"/>
                <a:gd name="T8" fmla="*/ 11 w 11"/>
                <a:gd name="T9" fmla="*/ 6 h 104"/>
                <a:gd name="T10" fmla="*/ 11 w 11"/>
                <a:gd name="T11" fmla="*/ 98 h 104"/>
                <a:gd name="T12" fmla="*/ 6 w 11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4">
                  <a:moveTo>
                    <a:pt x="6" y="104"/>
                  </a:moveTo>
                  <a:cubicBezTo>
                    <a:pt x="3" y="104"/>
                    <a:pt x="0" y="101"/>
                    <a:pt x="0" y="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101"/>
                    <a:pt x="9" y="104"/>
                    <a:pt x="6" y="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3" name="Freeform 1413">
              <a:extLst>
                <a:ext uri="{FF2B5EF4-FFF2-40B4-BE49-F238E27FC236}">
                  <a16:creationId xmlns:a16="http://schemas.microsoft.com/office/drawing/2014/main" id="{981BC7EF-30D3-46D0-1FE0-C9663F9802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35248" y="1858336"/>
              <a:ext cx="222250" cy="274637"/>
            </a:xfrm>
            <a:custGeom>
              <a:avLst/>
              <a:gdLst>
                <a:gd name="T0" fmla="*/ 159 w 214"/>
                <a:gd name="T1" fmla="*/ 263 h 264"/>
                <a:gd name="T2" fmla="*/ 142 w 214"/>
                <a:gd name="T3" fmla="*/ 257 h 264"/>
                <a:gd name="T4" fmla="*/ 140 w 214"/>
                <a:gd name="T5" fmla="*/ 254 h 264"/>
                <a:gd name="T6" fmla="*/ 137 w 214"/>
                <a:gd name="T7" fmla="*/ 257 h 264"/>
                <a:gd name="T8" fmla="*/ 118 w 214"/>
                <a:gd name="T9" fmla="*/ 263 h 264"/>
                <a:gd name="T10" fmla="*/ 96 w 214"/>
                <a:gd name="T11" fmla="*/ 238 h 264"/>
                <a:gd name="T12" fmla="*/ 96 w 214"/>
                <a:gd name="T13" fmla="*/ 116 h 264"/>
                <a:gd name="T14" fmla="*/ 96 w 214"/>
                <a:gd name="T15" fmla="*/ 115 h 264"/>
                <a:gd name="T16" fmla="*/ 96 w 214"/>
                <a:gd name="T17" fmla="*/ 58 h 264"/>
                <a:gd name="T18" fmla="*/ 81 w 214"/>
                <a:gd name="T19" fmla="*/ 65 h 264"/>
                <a:gd name="T20" fmla="*/ 43 w 214"/>
                <a:gd name="T21" fmla="*/ 77 h 264"/>
                <a:gd name="T22" fmla="*/ 23 w 214"/>
                <a:gd name="T23" fmla="*/ 81 h 264"/>
                <a:gd name="T24" fmla="*/ 2 w 214"/>
                <a:gd name="T25" fmla="*/ 69 h 264"/>
                <a:gd name="T26" fmla="*/ 2 w 214"/>
                <a:gd name="T27" fmla="*/ 54 h 264"/>
                <a:gd name="T28" fmla="*/ 14 w 214"/>
                <a:gd name="T29" fmla="*/ 44 h 264"/>
                <a:gd name="T30" fmla="*/ 48 w 214"/>
                <a:gd name="T31" fmla="*/ 33 h 264"/>
                <a:gd name="T32" fmla="*/ 81 w 214"/>
                <a:gd name="T33" fmla="*/ 8 h 264"/>
                <a:gd name="T34" fmla="*/ 101 w 214"/>
                <a:gd name="T35" fmla="*/ 0 h 264"/>
                <a:gd name="T36" fmla="*/ 178 w 214"/>
                <a:gd name="T37" fmla="*/ 0 h 264"/>
                <a:gd name="T38" fmla="*/ 214 w 214"/>
                <a:gd name="T39" fmla="*/ 36 h 264"/>
                <a:gd name="T40" fmla="*/ 214 w 214"/>
                <a:gd name="T41" fmla="*/ 116 h 264"/>
                <a:gd name="T42" fmla="*/ 207 w 214"/>
                <a:gd name="T43" fmla="*/ 132 h 264"/>
                <a:gd name="T44" fmla="*/ 191 w 214"/>
                <a:gd name="T45" fmla="*/ 137 h 264"/>
                <a:gd name="T46" fmla="*/ 183 w 214"/>
                <a:gd name="T47" fmla="*/ 135 h 264"/>
                <a:gd name="T48" fmla="*/ 183 w 214"/>
                <a:gd name="T49" fmla="*/ 238 h 264"/>
                <a:gd name="T50" fmla="*/ 161 w 214"/>
                <a:gd name="T51" fmla="*/ 263 h 264"/>
                <a:gd name="T52" fmla="*/ 159 w 214"/>
                <a:gd name="T53" fmla="*/ 263 h 264"/>
                <a:gd name="T54" fmla="*/ 140 w 214"/>
                <a:gd name="T55" fmla="*/ 233 h 264"/>
                <a:gd name="T56" fmla="*/ 145 w 214"/>
                <a:gd name="T57" fmla="*/ 238 h 264"/>
                <a:gd name="T58" fmla="*/ 150 w 214"/>
                <a:gd name="T59" fmla="*/ 249 h 264"/>
                <a:gd name="T60" fmla="*/ 160 w 214"/>
                <a:gd name="T61" fmla="*/ 252 h 264"/>
                <a:gd name="T62" fmla="*/ 172 w 214"/>
                <a:gd name="T63" fmla="*/ 238 h 264"/>
                <a:gd name="T64" fmla="*/ 172 w 214"/>
                <a:gd name="T65" fmla="*/ 116 h 264"/>
                <a:gd name="T66" fmla="*/ 178 w 214"/>
                <a:gd name="T67" fmla="*/ 110 h 264"/>
                <a:gd name="T68" fmla="*/ 183 w 214"/>
                <a:gd name="T69" fmla="*/ 116 h 264"/>
                <a:gd name="T70" fmla="*/ 192 w 214"/>
                <a:gd name="T71" fmla="*/ 126 h 264"/>
                <a:gd name="T72" fmla="*/ 200 w 214"/>
                <a:gd name="T73" fmla="*/ 124 h 264"/>
                <a:gd name="T74" fmla="*/ 203 w 214"/>
                <a:gd name="T75" fmla="*/ 116 h 264"/>
                <a:gd name="T76" fmla="*/ 203 w 214"/>
                <a:gd name="T77" fmla="*/ 36 h 264"/>
                <a:gd name="T78" fmla="*/ 178 w 214"/>
                <a:gd name="T79" fmla="*/ 11 h 264"/>
                <a:gd name="T80" fmla="*/ 101 w 214"/>
                <a:gd name="T81" fmla="*/ 11 h 264"/>
                <a:gd name="T82" fmla="*/ 87 w 214"/>
                <a:gd name="T83" fmla="*/ 16 h 264"/>
                <a:gd name="T84" fmla="*/ 54 w 214"/>
                <a:gd name="T85" fmla="*/ 42 h 264"/>
                <a:gd name="T86" fmla="*/ 52 w 214"/>
                <a:gd name="T87" fmla="*/ 43 h 264"/>
                <a:gd name="T88" fmla="*/ 17 w 214"/>
                <a:gd name="T89" fmla="*/ 54 h 264"/>
                <a:gd name="T90" fmla="*/ 12 w 214"/>
                <a:gd name="T91" fmla="*/ 59 h 264"/>
                <a:gd name="T92" fmla="*/ 12 w 214"/>
                <a:gd name="T93" fmla="*/ 65 h 264"/>
                <a:gd name="T94" fmla="*/ 21 w 214"/>
                <a:gd name="T95" fmla="*/ 70 h 264"/>
                <a:gd name="T96" fmla="*/ 41 w 214"/>
                <a:gd name="T97" fmla="*/ 66 h 264"/>
                <a:gd name="T98" fmla="*/ 76 w 214"/>
                <a:gd name="T99" fmla="*/ 55 h 264"/>
                <a:gd name="T100" fmla="*/ 99 w 214"/>
                <a:gd name="T101" fmla="*/ 45 h 264"/>
                <a:gd name="T102" fmla="*/ 104 w 214"/>
                <a:gd name="T103" fmla="*/ 45 h 264"/>
                <a:gd name="T104" fmla="*/ 107 w 214"/>
                <a:gd name="T105" fmla="*/ 50 h 264"/>
                <a:gd name="T106" fmla="*/ 107 w 214"/>
                <a:gd name="T107" fmla="*/ 116 h 264"/>
                <a:gd name="T108" fmla="*/ 107 w 214"/>
                <a:gd name="T109" fmla="*/ 116 h 264"/>
                <a:gd name="T110" fmla="*/ 107 w 214"/>
                <a:gd name="T111" fmla="*/ 238 h 264"/>
                <a:gd name="T112" fmla="*/ 119 w 214"/>
                <a:gd name="T113" fmla="*/ 252 h 264"/>
                <a:gd name="T114" fmla="*/ 130 w 214"/>
                <a:gd name="T115" fmla="*/ 249 h 264"/>
                <a:gd name="T116" fmla="*/ 134 w 214"/>
                <a:gd name="T117" fmla="*/ 238 h 264"/>
                <a:gd name="T118" fmla="*/ 140 w 214"/>
                <a:gd name="T119" fmla="*/ 233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4" h="264">
                  <a:moveTo>
                    <a:pt x="159" y="263"/>
                  </a:moveTo>
                  <a:cubicBezTo>
                    <a:pt x="153" y="263"/>
                    <a:pt x="147" y="261"/>
                    <a:pt x="142" y="257"/>
                  </a:cubicBezTo>
                  <a:cubicBezTo>
                    <a:pt x="141" y="256"/>
                    <a:pt x="140" y="255"/>
                    <a:pt x="140" y="254"/>
                  </a:cubicBezTo>
                  <a:cubicBezTo>
                    <a:pt x="139" y="255"/>
                    <a:pt x="138" y="256"/>
                    <a:pt x="137" y="257"/>
                  </a:cubicBezTo>
                  <a:cubicBezTo>
                    <a:pt x="132" y="261"/>
                    <a:pt x="125" y="264"/>
                    <a:pt x="118" y="263"/>
                  </a:cubicBezTo>
                  <a:cubicBezTo>
                    <a:pt x="106" y="262"/>
                    <a:pt x="96" y="251"/>
                    <a:pt x="96" y="238"/>
                  </a:cubicBezTo>
                  <a:cubicBezTo>
                    <a:pt x="96" y="116"/>
                    <a:pt x="96" y="116"/>
                    <a:pt x="96" y="116"/>
                  </a:cubicBezTo>
                  <a:cubicBezTo>
                    <a:pt x="96" y="116"/>
                    <a:pt x="96" y="116"/>
                    <a:pt x="96" y="115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69" y="71"/>
                    <a:pt x="56" y="75"/>
                    <a:pt x="43" y="77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14" y="83"/>
                    <a:pt x="5" y="78"/>
                    <a:pt x="2" y="69"/>
                  </a:cubicBezTo>
                  <a:cubicBezTo>
                    <a:pt x="0" y="64"/>
                    <a:pt x="0" y="59"/>
                    <a:pt x="2" y="54"/>
                  </a:cubicBezTo>
                  <a:cubicBezTo>
                    <a:pt x="5" y="49"/>
                    <a:pt x="9" y="46"/>
                    <a:pt x="14" y="44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7" y="3"/>
                    <a:pt x="94" y="0"/>
                    <a:pt x="101" y="0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198" y="0"/>
                    <a:pt x="214" y="16"/>
                    <a:pt x="214" y="36"/>
                  </a:cubicBezTo>
                  <a:cubicBezTo>
                    <a:pt x="214" y="116"/>
                    <a:pt x="214" y="116"/>
                    <a:pt x="214" y="116"/>
                  </a:cubicBezTo>
                  <a:cubicBezTo>
                    <a:pt x="214" y="122"/>
                    <a:pt x="211" y="128"/>
                    <a:pt x="207" y="132"/>
                  </a:cubicBezTo>
                  <a:cubicBezTo>
                    <a:pt x="203" y="136"/>
                    <a:pt x="197" y="138"/>
                    <a:pt x="191" y="137"/>
                  </a:cubicBezTo>
                  <a:cubicBezTo>
                    <a:pt x="188" y="137"/>
                    <a:pt x="186" y="136"/>
                    <a:pt x="183" y="135"/>
                  </a:cubicBezTo>
                  <a:cubicBezTo>
                    <a:pt x="183" y="238"/>
                    <a:pt x="183" y="238"/>
                    <a:pt x="183" y="238"/>
                  </a:cubicBezTo>
                  <a:cubicBezTo>
                    <a:pt x="183" y="251"/>
                    <a:pt x="174" y="262"/>
                    <a:pt x="161" y="263"/>
                  </a:cubicBezTo>
                  <a:cubicBezTo>
                    <a:pt x="160" y="263"/>
                    <a:pt x="160" y="263"/>
                    <a:pt x="159" y="263"/>
                  </a:cubicBezTo>
                  <a:close/>
                  <a:moveTo>
                    <a:pt x="140" y="233"/>
                  </a:moveTo>
                  <a:cubicBezTo>
                    <a:pt x="143" y="233"/>
                    <a:pt x="145" y="235"/>
                    <a:pt x="145" y="238"/>
                  </a:cubicBezTo>
                  <a:cubicBezTo>
                    <a:pt x="145" y="242"/>
                    <a:pt x="147" y="246"/>
                    <a:pt x="150" y="249"/>
                  </a:cubicBezTo>
                  <a:cubicBezTo>
                    <a:pt x="152" y="251"/>
                    <a:pt x="156" y="252"/>
                    <a:pt x="160" y="252"/>
                  </a:cubicBezTo>
                  <a:cubicBezTo>
                    <a:pt x="167" y="251"/>
                    <a:pt x="172" y="245"/>
                    <a:pt x="172" y="238"/>
                  </a:cubicBezTo>
                  <a:cubicBezTo>
                    <a:pt x="172" y="116"/>
                    <a:pt x="172" y="116"/>
                    <a:pt x="172" y="116"/>
                  </a:cubicBezTo>
                  <a:cubicBezTo>
                    <a:pt x="172" y="113"/>
                    <a:pt x="175" y="110"/>
                    <a:pt x="178" y="110"/>
                  </a:cubicBezTo>
                  <a:cubicBezTo>
                    <a:pt x="181" y="110"/>
                    <a:pt x="183" y="113"/>
                    <a:pt x="183" y="116"/>
                  </a:cubicBezTo>
                  <a:cubicBezTo>
                    <a:pt x="183" y="121"/>
                    <a:pt x="187" y="126"/>
                    <a:pt x="192" y="126"/>
                  </a:cubicBezTo>
                  <a:cubicBezTo>
                    <a:pt x="195" y="126"/>
                    <a:pt x="198" y="126"/>
                    <a:pt x="200" y="124"/>
                  </a:cubicBezTo>
                  <a:cubicBezTo>
                    <a:pt x="202" y="122"/>
                    <a:pt x="203" y="119"/>
                    <a:pt x="203" y="116"/>
                  </a:cubicBezTo>
                  <a:cubicBezTo>
                    <a:pt x="203" y="36"/>
                    <a:pt x="203" y="36"/>
                    <a:pt x="203" y="36"/>
                  </a:cubicBezTo>
                  <a:cubicBezTo>
                    <a:pt x="203" y="22"/>
                    <a:pt x="192" y="11"/>
                    <a:pt x="178" y="11"/>
                  </a:cubicBezTo>
                  <a:cubicBezTo>
                    <a:pt x="101" y="11"/>
                    <a:pt x="101" y="11"/>
                    <a:pt x="101" y="11"/>
                  </a:cubicBezTo>
                  <a:cubicBezTo>
                    <a:pt x="97" y="11"/>
                    <a:pt x="92" y="13"/>
                    <a:pt x="87" y="16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3"/>
                    <a:pt x="53" y="43"/>
                    <a:pt x="52" y="43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5" y="55"/>
                    <a:pt x="13" y="57"/>
                    <a:pt x="12" y="59"/>
                  </a:cubicBezTo>
                  <a:cubicBezTo>
                    <a:pt x="11" y="61"/>
                    <a:pt x="11" y="63"/>
                    <a:pt x="12" y="65"/>
                  </a:cubicBezTo>
                  <a:cubicBezTo>
                    <a:pt x="13" y="69"/>
                    <a:pt x="17" y="71"/>
                    <a:pt x="21" y="70"/>
                  </a:cubicBezTo>
                  <a:cubicBezTo>
                    <a:pt x="41" y="66"/>
                    <a:pt x="41" y="66"/>
                    <a:pt x="41" y="66"/>
                  </a:cubicBezTo>
                  <a:cubicBezTo>
                    <a:pt x="53" y="64"/>
                    <a:pt x="65" y="60"/>
                    <a:pt x="76" y="55"/>
                  </a:cubicBezTo>
                  <a:cubicBezTo>
                    <a:pt x="99" y="45"/>
                    <a:pt x="99" y="45"/>
                    <a:pt x="99" y="45"/>
                  </a:cubicBezTo>
                  <a:cubicBezTo>
                    <a:pt x="101" y="44"/>
                    <a:pt x="103" y="44"/>
                    <a:pt x="104" y="45"/>
                  </a:cubicBezTo>
                  <a:cubicBezTo>
                    <a:pt x="106" y="46"/>
                    <a:pt x="107" y="48"/>
                    <a:pt x="107" y="50"/>
                  </a:cubicBezTo>
                  <a:cubicBezTo>
                    <a:pt x="107" y="116"/>
                    <a:pt x="107" y="116"/>
                    <a:pt x="107" y="116"/>
                  </a:cubicBezTo>
                  <a:cubicBezTo>
                    <a:pt x="107" y="116"/>
                    <a:pt x="107" y="116"/>
                    <a:pt x="107" y="116"/>
                  </a:cubicBezTo>
                  <a:cubicBezTo>
                    <a:pt x="107" y="238"/>
                    <a:pt x="107" y="238"/>
                    <a:pt x="107" y="238"/>
                  </a:cubicBezTo>
                  <a:cubicBezTo>
                    <a:pt x="107" y="245"/>
                    <a:pt x="112" y="251"/>
                    <a:pt x="119" y="252"/>
                  </a:cubicBezTo>
                  <a:cubicBezTo>
                    <a:pt x="123" y="252"/>
                    <a:pt x="127" y="251"/>
                    <a:pt x="130" y="249"/>
                  </a:cubicBezTo>
                  <a:cubicBezTo>
                    <a:pt x="133" y="246"/>
                    <a:pt x="134" y="242"/>
                    <a:pt x="134" y="238"/>
                  </a:cubicBezTo>
                  <a:cubicBezTo>
                    <a:pt x="134" y="235"/>
                    <a:pt x="137" y="233"/>
                    <a:pt x="140" y="2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4" name="Freeform 1414">
              <a:extLst>
                <a:ext uri="{FF2B5EF4-FFF2-40B4-BE49-F238E27FC236}">
                  <a16:creationId xmlns:a16="http://schemas.microsoft.com/office/drawing/2014/main" id="{B5F6FA94-9B88-B736-48CF-25DAC5B98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35238" y="1858336"/>
              <a:ext cx="90488" cy="11113"/>
            </a:xfrm>
            <a:custGeom>
              <a:avLst/>
              <a:gdLst>
                <a:gd name="T0" fmla="*/ 82 w 87"/>
                <a:gd name="T1" fmla="*/ 11 h 11"/>
                <a:gd name="T2" fmla="*/ 5 w 87"/>
                <a:gd name="T3" fmla="*/ 11 h 11"/>
                <a:gd name="T4" fmla="*/ 0 w 87"/>
                <a:gd name="T5" fmla="*/ 6 h 11"/>
                <a:gd name="T6" fmla="*/ 5 w 87"/>
                <a:gd name="T7" fmla="*/ 0 h 11"/>
                <a:gd name="T8" fmla="*/ 82 w 87"/>
                <a:gd name="T9" fmla="*/ 0 h 11"/>
                <a:gd name="T10" fmla="*/ 87 w 87"/>
                <a:gd name="T11" fmla="*/ 6 h 11"/>
                <a:gd name="T12" fmla="*/ 82 w 87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1">
                  <a:moveTo>
                    <a:pt x="82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5" y="0"/>
                    <a:pt x="87" y="3"/>
                    <a:pt x="87" y="6"/>
                  </a:cubicBezTo>
                  <a:cubicBezTo>
                    <a:pt x="87" y="9"/>
                    <a:pt x="85" y="11"/>
                    <a:pt x="8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5" name="Freeform 1415">
              <a:extLst>
                <a:ext uri="{FF2B5EF4-FFF2-40B4-BE49-F238E27FC236}">
                  <a16:creationId xmlns:a16="http://schemas.microsoft.com/office/drawing/2014/main" id="{A7D753ED-B648-BBB2-8212-25EEF8C313F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455864" y="1904372"/>
              <a:ext cx="11113" cy="79374"/>
            </a:xfrm>
            <a:custGeom>
              <a:avLst/>
              <a:gdLst>
                <a:gd name="T0" fmla="*/ 6 w 11"/>
                <a:gd name="T1" fmla="*/ 77 h 77"/>
                <a:gd name="T2" fmla="*/ 0 w 11"/>
                <a:gd name="T3" fmla="*/ 72 h 77"/>
                <a:gd name="T4" fmla="*/ 0 w 11"/>
                <a:gd name="T5" fmla="*/ 6 h 77"/>
                <a:gd name="T6" fmla="*/ 6 w 11"/>
                <a:gd name="T7" fmla="*/ 0 h 77"/>
                <a:gd name="T8" fmla="*/ 11 w 11"/>
                <a:gd name="T9" fmla="*/ 6 h 77"/>
                <a:gd name="T10" fmla="*/ 11 w 11"/>
                <a:gd name="T11" fmla="*/ 72 h 77"/>
                <a:gd name="T12" fmla="*/ 6 w 11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7">
                  <a:moveTo>
                    <a:pt x="6" y="77"/>
                  </a:moveTo>
                  <a:cubicBezTo>
                    <a:pt x="3" y="77"/>
                    <a:pt x="0" y="75"/>
                    <a:pt x="0" y="7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5"/>
                    <a:pt x="9" y="77"/>
                    <a:pt x="6" y="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6" name="Freeform 1416">
              <a:extLst>
                <a:ext uri="{FF2B5EF4-FFF2-40B4-BE49-F238E27FC236}">
                  <a16:creationId xmlns:a16="http://schemas.microsoft.com/office/drawing/2014/main" id="{B961C98E-9AA8-6193-B14D-739A888642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22541" y="1783724"/>
              <a:ext cx="65088" cy="65088"/>
            </a:xfrm>
            <a:custGeom>
              <a:avLst/>
              <a:gdLst>
                <a:gd name="T0" fmla="*/ 32 w 63"/>
                <a:gd name="T1" fmla="*/ 63 h 63"/>
                <a:gd name="T2" fmla="*/ 0 w 63"/>
                <a:gd name="T3" fmla="*/ 31 h 63"/>
                <a:gd name="T4" fmla="*/ 32 w 63"/>
                <a:gd name="T5" fmla="*/ 0 h 63"/>
                <a:gd name="T6" fmla="*/ 63 w 63"/>
                <a:gd name="T7" fmla="*/ 31 h 63"/>
                <a:gd name="T8" fmla="*/ 32 w 63"/>
                <a:gd name="T9" fmla="*/ 63 h 63"/>
                <a:gd name="T10" fmla="*/ 32 w 63"/>
                <a:gd name="T11" fmla="*/ 11 h 63"/>
                <a:gd name="T12" fmla="*/ 11 w 63"/>
                <a:gd name="T13" fmla="*/ 31 h 63"/>
                <a:gd name="T14" fmla="*/ 32 w 63"/>
                <a:gd name="T15" fmla="*/ 52 h 63"/>
                <a:gd name="T16" fmla="*/ 52 w 63"/>
                <a:gd name="T17" fmla="*/ 31 h 63"/>
                <a:gd name="T18" fmla="*/ 32 w 63"/>
                <a:gd name="T19" fmla="*/ 1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32" y="63"/>
                  </a:moveTo>
                  <a:cubicBezTo>
                    <a:pt x="14" y="63"/>
                    <a:pt x="0" y="49"/>
                    <a:pt x="0" y="31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3" y="14"/>
                    <a:pt x="63" y="31"/>
                  </a:cubicBezTo>
                  <a:cubicBezTo>
                    <a:pt x="63" y="49"/>
                    <a:pt x="49" y="63"/>
                    <a:pt x="32" y="63"/>
                  </a:cubicBezTo>
                  <a:close/>
                  <a:moveTo>
                    <a:pt x="32" y="11"/>
                  </a:moveTo>
                  <a:cubicBezTo>
                    <a:pt x="21" y="11"/>
                    <a:pt x="11" y="20"/>
                    <a:pt x="11" y="31"/>
                  </a:cubicBezTo>
                  <a:cubicBezTo>
                    <a:pt x="11" y="42"/>
                    <a:pt x="21" y="52"/>
                    <a:pt x="32" y="52"/>
                  </a:cubicBezTo>
                  <a:cubicBezTo>
                    <a:pt x="43" y="52"/>
                    <a:pt x="52" y="42"/>
                    <a:pt x="52" y="31"/>
                  </a:cubicBezTo>
                  <a:cubicBezTo>
                    <a:pt x="52" y="20"/>
                    <a:pt x="43" y="11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7" name="Freeform 1417">
              <a:extLst>
                <a:ext uri="{FF2B5EF4-FFF2-40B4-BE49-F238E27FC236}">
                  <a16:creationId xmlns:a16="http://schemas.microsoft.com/office/drawing/2014/main" id="{3695A680-232F-B6A0-7BAE-22E58FA7E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52729" y="2002799"/>
              <a:ext cx="52388" cy="76200"/>
            </a:xfrm>
            <a:custGeom>
              <a:avLst/>
              <a:gdLst>
                <a:gd name="T0" fmla="*/ 25 w 51"/>
                <a:gd name="T1" fmla="*/ 73 h 73"/>
                <a:gd name="T2" fmla="*/ 1 w 51"/>
                <a:gd name="T3" fmla="*/ 61 h 73"/>
                <a:gd name="T4" fmla="*/ 2 w 51"/>
                <a:gd name="T5" fmla="*/ 54 h 73"/>
                <a:gd name="T6" fmla="*/ 10 w 51"/>
                <a:gd name="T7" fmla="*/ 55 h 73"/>
                <a:gd name="T8" fmla="*/ 34 w 51"/>
                <a:gd name="T9" fmla="*/ 60 h 73"/>
                <a:gd name="T10" fmla="*/ 34 w 51"/>
                <a:gd name="T11" fmla="*/ 60 h 73"/>
                <a:gd name="T12" fmla="*/ 39 w 51"/>
                <a:gd name="T13" fmla="*/ 51 h 73"/>
                <a:gd name="T14" fmla="*/ 32 w 51"/>
                <a:gd name="T15" fmla="*/ 43 h 73"/>
                <a:gd name="T16" fmla="*/ 15 w 51"/>
                <a:gd name="T17" fmla="*/ 38 h 73"/>
                <a:gd name="T18" fmla="*/ 1 w 51"/>
                <a:gd name="T19" fmla="*/ 19 h 73"/>
                <a:gd name="T20" fmla="*/ 7 w 51"/>
                <a:gd name="T21" fmla="*/ 6 h 73"/>
                <a:gd name="T22" fmla="*/ 26 w 51"/>
                <a:gd name="T23" fmla="*/ 0 h 73"/>
                <a:gd name="T24" fmla="*/ 50 w 51"/>
                <a:gd name="T25" fmla="*/ 17 h 73"/>
                <a:gd name="T26" fmla="*/ 46 w 51"/>
                <a:gd name="T27" fmla="*/ 24 h 73"/>
                <a:gd name="T28" fmla="*/ 39 w 51"/>
                <a:gd name="T29" fmla="*/ 20 h 73"/>
                <a:gd name="T30" fmla="*/ 26 w 51"/>
                <a:gd name="T31" fmla="*/ 11 h 73"/>
                <a:gd name="T32" fmla="*/ 25 w 51"/>
                <a:gd name="T33" fmla="*/ 11 h 73"/>
                <a:gd name="T34" fmla="*/ 14 w 51"/>
                <a:gd name="T35" fmla="*/ 14 h 73"/>
                <a:gd name="T36" fmla="*/ 12 w 51"/>
                <a:gd name="T37" fmla="*/ 19 h 73"/>
                <a:gd name="T38" fmla="*/ 18 w 51"/>
                <a:gd name="T39" fmla="*/ 27 h 73"/>
                <a:gd name="T40" fmla="*/ 35 w 51"/>
                <a:gd name="T41" fmla="*/ 32 h 73"/>
                <a:gd name="T42" fmla="*/ 50 w 51"/>
                <a:gd name="T43" fmla="*/ 50 h 73"/>
                <a:gd name="T44" fmla="*/ 39 w 51"/>
                <a:gd name="T45" fmla="*/ 70 h 73"/>
                <a:gd name="T46" fmla="*/ 25 w 51"/>
                <a:gd name="T47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" h="73">
                  <a:moveTo>
                    <a:pt x="25" y="73"/>
                  </a:moveTo>
                  <a:cubicBezTo>
                    <a:pt x="17" y="73"/>
                    <a:pt x="8" y="70"/>
                    <a:pt x="1" y="61"/>
                  </a:cubicBezTo>
                  <a:cubicBezTo>
                    <a:pt x="0" y="59"/>
                    <a:pt x="0" y="56"/>
                    <a:pt x="2" y="54"/>
                  </a:cubicBezTo>
                  <a:cubicBezTo>
                    <a:pt x="5" y="52"/>
                    <a:pt x="8" y="52"/>
                    <a:pt x="10" y="55"/>
                  </a:cubicBezTo>
                  <a:cubicBezTo>
                    <a:pt x="19" y="67"/>
                    <a:pt x="33" y="61"/>
                    <a:pt x="3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9" y="57"/>
                    <a:pt x="39" y="51"/>
                  </a:cubicBezTo>
                  <a:cubicBezTo>
                    <a:pt x="38" y="45"/>
                    <a:pt x="32" y="43"/>
                    <a:pt x="32" y="43"/>
                  </a:cubicBezTo>
                  <a:cubicBezTo>
                    <a:pt x="32" y="43"/>
                    <a:pt x="23" y="40"/>
                    <a:pt x="15" y="38"/>
                  </a:cubicBezTo>
                  <a:cubicBezTo>
                    <a:pt x="3" y="34"/>
                    <a:pt x="1" y="26"/>
                    <a:pt x="1" y="19"/>
                  </a:cubicBezTo>
                  <a:cubicBezTo>
                    <a:pt x="1" y="14"/>
                    <a:pt x="3" y="9"/>
                    <a:pt x="7" y="6"/>
                  </a:cubicBezTo>
                  <a:cubicBezTo>
                    <a:pt x="11" y="2"/>
                    <a:pt x="17" y="0"/>
                    <a:pt x="26" y="0"/>
                  </a:cubicBezTo>
                  <a:cubicBezTo>
                    <a:pt x="41" y="0"/>
                    <a:pt x="48" y="11"/>
                    <a:pt x="50" y="17"/>
                  </a:cubicBezTo>
                  <a:cubicBezTo>
                    <a:pt x="51" y="20"/>
                    <a:pt x="49" y="23"/>
                    <a:pt x="46" y="24"/>
                  </a:cubicBezTo>
                  <a:cubicBezTo>
                    <a:pt x="43" y="25"/>
                    <a:pt x="40" y="23"/>
                    <a:pt x="39" y="20"/>
                  </a:cubicBezTo>
                  <a:cubicBezTo>
                    <a:pt x="39" y="19"/>
                    <a:pt x="36" y="11"/>
                    <a:pt x="26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0" y="11"/>
                    <a:pt x="16" y="12"/>
                    <a:pt x="14" y="14"/>
                  </a:cubicBezTo>
                  <a:cubicBezTo>
                    <a:pt x="12" y="15"/>
                    <a:pt x="12" y="17"/>
                    <a:pt x="12" y="19"/>
                  </a:cubicBezTo>
                  <a:cubicBezTo>
                    <a:pt x="12" y="23"/>
                    <a:pt x="13" y="26"/>
                    <a:pt x="18" y="27"/>
                  </a:cubicBezTo>
                  <a:cubicBezTo>
                    <a:pt x="27" y="30"/>
                    <a:pt x="35" y="32"/>
                    <a:pt x="35" y="32"/>
                  </a:cubicBezTo>
                  <a:cubicBezTo>
                    <a:pt x="40" y="34"/>
                    <a:pt x="49" y="39"/>
                    <a:pt x="50" y="50"/>
                  </a:cubicBezTo>
                  <a:cubicBezTo>
                    <a:pt x="51" y="62"/>
                    <a:pt x="43" y="68"/>
                    <a:pt x="39" y="70"/>
                  </a:cubicBezTo>
                  <a:cubicBezTo>
                    <a:pt x="36" y="72"/>
                    <a:pt x="30" y="73"/>
                    <a:pt x="25" y="7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8" name="Freeform 1418">
              <a:extLst>
                <a:ext uri="{FF2B5EF4-FFF2-40B4-BE49-F238E27FC236}">
                  <a16:creationId xmlns:a16="http://schemas.microsoft.com/office/drawing/2014/main" id="{C44256D5-9F5B-7AB0-51FC-44E79B664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32091" y="1990099"/>
              <a:ext cx="11113" cy="23813"/>
            </a:xfrm>
            <a:custGeom>
              <a:avLst/>
              <a:gdLst>
                <a:gd name="T0" fmla="*/ 6 w 11"/>
                <a:gd name="T1" fmla="*/ 24 h 24"/>
                <a:gd name="T2" fmla="*/ 0 w 11"/>
                <a:gd name="T3" fmla="*/ 19 h 24"/>
                <a:gd name="T4" fmla="*/ 0 w 11"/>
                <a:gd name="T5" fmla="*/ 6 h 24"/>
                <a:gd name="T6" fmla="*/ 6 w 11"/>
                <a:gd name="T7" fmla="*/ 0 h 24"/>
                <a:gd name="T8" fmla="*/ 11 w 11"/>
                <a:gd name="T9" fmla="*/ 6 h 24"/>
                <a:gd name="T10" fmla="*/ 11 w 11"/>
                <a:gd name="T11" fmla="*/ 19 h 24"/>
                <a:gd name="T12" fmla="*/ 6 w 11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4">
                  <a:moveTo>
                    <a:pt x="6" y="24"/>
                  </a:moveTo>
                  <a:cubicBezTo>
                    <a:pt x="3" y="24"/>
                    <a:pt x="0" y="22"/>
                    <a:pt x="0" y="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22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9" name="Freeform 1419">
              <a:extLst>
                <a:ext uri="{FF2B5EF4-FFF2-40B4-BE49-F238E27FC236}">
                  <a16:creationId xmlns:a16="http://schemas.microsoft.com/office/drawing/2014/main" id="{C2317A1A-2EE7-8616-C2E1-BEE5D59BD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32091" y="2067886"/>
              <a:ext cx="11113" cy="25400"/>
            </a:xfrm>
            <a:custGeom>
              <a:avLst/>
              <a:gdLst>
                <a:gd name="T0" fmla="*/ 6 w 11"/>
                <a:gd name="T1" fmla="*/ 24 h 24"/>
                <a:gd name="T2" fmla="*/ 0 w 11"/>
                <a:gd name="T3" fmla="*/ 18 h 24"/>
                <a:gd name="T4" fmla="*/ 0 w 11"/>
                <a:gd name="T5" fmla="*/ 6 h 24"/>
                <a:gd name="T6" fmla="*/ 6 w 11"/>
                <a:gd name="T7" fmla="*/ 0 h 24"/>
                <a:gd name="T8" fmla="*/ 11 w 11"/>
                <a:gd name="T9" fmla="*/ 6 h 24"/>
                <a:gd name="T10" fmla="*/ 11 w 11"/>
                <a:gd name="T11" fmla="*/ 18 h 24"/>
                <a:gd name="T12" fmla="*/ 6 w 11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4">
                  <a:moveTo>
                    <a:pt x="6" y="24"/>
                  </a:moveTo>
                  <a:cubicBezTo>
                    <a:pt x="3" y="24"/>
                    <a:pt x="0" y="22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22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0" name="Freeform 1420">
              <a:extLst>
                <a:ext uri="{FF2B5EF4-FFF2-40B4-BE49-F238E27FC236}">
                  <a16:creationId xmlns:a16="http://schemas.microsoft.com/office/drawing/2014/main" id="{5DE72250-F8FB-0360-5A64-CC6187A69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822578" y="1950415"/>
              <a:ext cx="190500" cy="180975"/>
            </a:xfrm>
            <a:custGeom>
              <a:avLst/>
              <a:gdLst>
                <a:gd name="T0" fmla="*/ 92 w 184"/>
                <a:gd name="T1" fmla="*/ 175 h 175"/>
                <a:gd name="T2" fmla="*/ 0 w 184"/>
                <a:gd name="T3" fmla="*/ 122 h 175"/>
                <a:gd name="T4" fmla="*/ 62 w 184"/>
                <a:gd name="T5" fmla="*/ 1 h 175"/>
                <a:gd name="T6" fmla="*/ 65 w 184"/>
                <a:gd name="T7" fmla="*/ 0 h 175"/>
                <a:gd name="T8" fmla="*/ 119 w 184"/>
                <a:gd name="T9" fmla="*/ 0 h 175"/>
                <a:gd name="T10" fmla="*/ 122 w 184"/>
                <a:gd name="T11" fmla="*/ 1 h 175"/>
                <a:gd name="T12" fmla="*/ 184 w 184"/>
                <a:gd name="T13" fmla="*/ 122 h 175"/>
                <a:gd name="T14" fmla="*/ 92 w 184"/>
                <a:gd name="T15" fmla="*/ 175 h 175"/>
                <a:gd name="T16" fmla="*/ 67 w 184"/>
                <a:gd name="T17" fmla="*/ 11 h 175"/>
                <a:gd name="T18" fmla="*/ 11 w 184"/>
                <a:gd name="T19" fmla="*/ 122 h 175"/>
                <a:gd name="T20" fmla="*/ 92 w 184"/>
                <a:gd name="T21" fmla="*/ 164 h 175"/>
                <a:gd name="T22" fmla="*/ 173 w 184"/>
                <a:gd name="T23" fmla="*/ 122 h 175"/>
                <a:gd name="T24" fmla="*/ 117 w 184"/>
                <a:gd name="T25" fmla="*/ 11 h 175"/>
                <a:gd name="T26" fmla="*/ 67 w 184"/>
                <a:gd name="T27" fmla="*/ 11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4" h="175">
                  <a:moveTo>
                    <a:pt x="92" y="175"/>
                  </a:moveTo>
                  <a:cubicBezTo>
                    <a:pt x="45" y="175"/>
                    <a:pt x="0" y="175"/>
                    <a:pt x="0" y="122"/>
                  </a:cubicBezTo>
                  <a:cubicBezTo>
                    <a:pt x="0" y="82"/>
                    <a:pt x="26" y="23"/>
                    <a:pt x="62" y="1"/>
                  </a:cubicBezTo>
                  <a:cubicBezTo>
                    <a:pt x="63" y="0"/>
                    <a:pt x="64" y="0"/>
                    <a:pt x="65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20" y="0"/>
                    <a:pt x="121" y="0"/>
                    <a:pt x="122" y="1"/>
                  </a:cubicBezTo>
                  <a:cubicBezTo>
                    <a:pt x="158" y="23"/>
                    <a:pt x="184" y="82"/>
                    <a:pt x="184" y="122"/>
                  </a:cubicBezTo>
                  <a:cubicBezTo>
                    <a:pt x="184" y="175"/>
                    <a:pt x="139" y="175"/>
                    <a:pt x="92" y="175"/>
                  </a:cubicBezTo>
                  <a:close/>
                  <a:moveTo>
                    <a:pt x="67" y="11"/>
                  </a:moveTo>
                  <a:cubicBezTo>
                    <a:pt x="35" y="31"/>
                    <a:pt x="11" y="86"/>
                    <a:pt x="11" y="122"/>
                  </a:cubicBezTo>
                  <a:cubicBezTo>
                    <a:pt x="11" y="162"/>
                    <a:pt x="41" y="164"/>
                    <a:pt x="92" y="164"/>
                  </a:cubicBezTo>
                  <a:cubicBezTo>
                    <a:pt x="144" y="164"/>
                    <a:pt x="173" y="162"/>
                    <a:pt x="173" y="122"/>
                  </a:cubicBezTo>
                  <a:cubicBezTo>
                    <a:pt x="173" y="86"/>
                    <a:pt x="149" y="31"/>
                    <a:pt x="117" y="11"/>
                  </a:cubicBezTo>
                  <a:lnTo>
                    <a:pt x="67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1" name="Freeform 1421">
              <a:extLst>
                <a:ext uri="{FF2B5EF4-FFF2-40B4-BE49-F238E27FC236}">
                  <a16:creationId xmlns:a16="http://schemas.microsoft.com/office/drawing/2014/main" id="{610794E7-E0BB-3B6A-641B-B68571DF12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73365" y="1926595"/>
              <a:ext cx="92075" cy="34925"/>
            </a:xfrm>
            <a:custGeom>
              <a:avLst/>
              <a:gdLst>
                <a:gd name="T0" fmla="*/ 72 w 88"/>
                <a:gd name="T1" fmla="*/ 33 h 33"/>
                <a:gd name="T2" fmla="*/ 16 w 88"/>
                <a:gd name="T3" fmla="*/ 33 h 33"/>
                <a:gd name="T4" fmla="*/ 0 w 88"/>
                <a:gd name="T5" fmla="*/ 16 h 33"/>
                <a:gd name="T6" fmla="*/ 16 w 88"/>
                <a:gd name="T7" fmla="*/ 0 h 33"/>
                <a:gd name="T8" fmla="*/ 72 w 88"/>
                <a:gd name="T9" fmla="*/ 0 h 33"/>
                <a:gd name="T10" fmla="*/ 88 w 88"/>
                <a:gd name="T11" fmla="*/ 16 h 33"/>
                <a:gd name="T12" fmla="*/ 72 w 88"/>
                <a:gd name="T13" fmla="*/ 33 h 33"/>
                <a:gd name="T14" fmla="*/ 16 w 88"/>
                <a:gd name="T15" fmla="*/ 11 h 33"/>
                <a:gd name="T16" fmla="*/ 11 w 88"/>
                <a:gd name="T17" fmla="*/ 16 h 33"/>
                <a:gd name="T18" fmla="*/ 16 w 88"/>
                <a:gd name="T19" fmla="*/ 22 h 33"/>
                <a:gd name="T20" fmla="*/ 72 w 88"/>
                <a:gd name="T21" fmla="*/ 22 h 33"/>
                <a:gd name="T22" fmla="*/ 77 w 88"/>
                <a:gd name="T23" fmla="*/ 16 h 33"/>
                <a:gd name="T24" fmla="*/ 72 w 88"/>
                <a:gd name="T25" fmla="*/ 11 h 33"/>
                <a:gd name="T26" fmla="*/ 16 w 88"/>
                <a:gd name="T27" fmla="*/ 1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33">
                  <a:moveTo>
                    <a:pt x="72" y="33"/>
                  </a:moveTo>
                  <a:cubicBezTo>
                    <a:pt x="16" y="33"/>
                    <a:pt x="16" y="33"/>
                    <a:pt x="16" y="33"/>
                  </a:cubicBezTo>
                  <a:cubicBezTo>
                    <a:pt x="7" y="33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1" y="0"/>
                    <a:pt x="88" y="7"/>
                    <a:pt x="88" y="16"/>
                  </a:cubicBezTo>
                  <a:cubicBezTo>
                    <a:pt x="88" y="25"/>
                    <a:pt x="81" y="33"/>
                    <a:pt x="72" y="33"/>
                  </a:cubicBezTo>
                  <a:close/>
                  <a:moveTo>
                    <a:pt x="16" y="11"/>
                  </a:moveTo>
                  <a:cubicBezTo>
                    <a:pt x="13" y="11"/>
                    <a:pt x="11" y="13"/>
                    <a:pt x="11" y="16"/>
                  </a:cubicBezTo>
                  <a:cubicBezTo>
                    <a:pt x="11" y="19"/>
                    <a:pt x="13" y="22"/>
                    <a:pt x="16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5" y="22"/>
                    <a:pt x="77" y="19"/>
                    <a:pt x="77" y="16"/>
                  </a:cubicBezTo>
                  <a:cubicBezTo>
                    <a:pt x="77" y="13"/>
                    <a:pt x="75" y="11"/>
                    <a:pt x="72" y="11"/>
                  </a:cubicBezTo>
                  <a:lnTo>
                    <a:pt x="16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2" name="Freeform 1422">
              <a:extLst>
                <a:ext uri="{FF2B5EF4-FFF2-40B4-BE49-F238E27FC236}">
                  <a16:creationId xmlns:a16="http://schemas.microsoft.com/office/drawing/2014/main" id="{1958262D-34C2-1AE6-7404-494265139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81300" y="1874218"/>
              <a:ext cx="111125" cy="65088"/>
            </a:xfrm>
            <a:custGeom>
              <a:avLst/>
              <a:gdLst>
                <a:gd name="T0" fmla="*/ 77 w 107"/>
                <a:gd name="T1" fmla="*/ 62 h 62"/>
                <a:gd name="T2" fmla="*/ 74 w 107"/>
                <a:gd name="T3" fmla="*/ 61 h 62"/>
                <a:gd name="T4" fmla="*/ 72 w 107"/>
                <a:gd name="T5" fmla="*/ 53 h 62"/>
                <a:gd name="T6" fmla="*/ 93 w 107"/>
                <a:gd name="T7" fmla="*/ 21 h 62"/>
                <a:gd name="T8" fmla="*/ 94 w 107"/>
                <a:gd name="T9" fmla="*/ 19 h 62"/>
                <a:gd name="T10" fmla="*/ 49 w 107"/>
                <a:gd name="T11" fmla="*/ 24 h 62"/>
                <a:gd name="T12" fmla="*/ 25 w 107"/>
                <a:gd name="T13" fmla="*/ 21 h 62"/>
                <a:gd name="T14" fmla="*/ 14 w 107"/>
                <a:gd name="T15" fmla="*/ 17 h 62"/>
                <a:gd name="T16" fmla="*/ 14 w 107"/>
                <a:gd name="T17" fmla="*/ 17 h 62"/>
                <a:gd name="T18" fmla="*/ 38 w 107"/>
                <a:gd name="T19" fmla="*/ 53 h 62"/>
                <a:gd name="T20" fmla="*/ 37 w 107"/>
                <a:gd name="T21" fmla="*/ 60 h 62"/>
                <a:gd name="T22" fmla="*/ 29 w 107"/>
                <a:gd name="T23" fmla="*/ 60 h 62"/>
                <a:gd name="T24" fmla="*/ 4 w 107"/>
                <a:gd name="T25" fmla="*/ 12 h 62"/>
                <a:gd name="T26" fmla="*/ 11 w 107"/>
                <a:gd name="T27" fmla="*/ 6 h 62"/>
                <a:gd name="T28" fmla="*/ 30 w 107"/>
                <a:gd name="T29" fmla="*/ 11 h 62"/>
                <a:gd name="T30" fmla="*/ 45 w 107"/>
                <a:gd name="T31" fmla="*/ 14 h 62"/>
                <a:gd name="T32" fmla="*/ 103 w 107"/>
                <a:gd name="T33" fmla="*/ 12 h 62"/>
                <a:gd name="T34" fmla="*/ 102 w 107"/>
                <a:gd name="T35" fmla="*/ 27 h 62"/>
                <a:gd name="T36" fmla="*/ 82 w 107"/>
                <a:gd name="T37" fmla="*/ 59 h 62"/>
                <a:gd name="T38" fmla="*/ 77 w 107"/>
                <a:gd name="T3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7" h="62">
                  <a:moveTo>
                    <a:pt x="77" y="62"/>
                  </a:moveTo>
                  <a:cubicBezTo>
                    <a:pt x="76" y="62"/>
                    <a:pt x="75" y="61"/>
                    <a:pt x="74" y="61"/>
                  </a:cubicBezTo>
                  <a:cubicBezTo>
                    <a:pt x="72" y="59"/>
                    <a:pt x="71" y="56"/>
                    <a:pt x="72" y="53"/>
                  </a:cubicBezTo>
                  <a:cubicBezTo>
                    <a:pt x="72" y="53"/>
                    <a:pt x="79" y="41"/>
                    <a:pt x="93" y="21"/>
                  </a:cubicBezTo>
                  <a:cubicBezTo>
                    <a:pt x="94" y="20"/>
                    <a:pt x="94" y="19"/>
                    <a:pt x="94" y="19"/>
                  </a:cubicBezTo>
                  <a:cubicBezTo>
                    <a:pt x="89" y="15"/>
                    <a:pt x="62" y="19"/>
                    <a:pt x="49" y="24"/>
                  </a:cubicBezTo>
                  <a:cubicBezTo>
                    <a:pt x="39" y="29"/>
                    <a:pt x="31" y="24"/>
                    <a:pt x="25" y="21"/>
                  </a:cubicBezTo>
                  <a:cubicBezTo>
                    <a:pt x="20" y="18"/>
                    <a:pt x="17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6" y="23"/>
                    <a:pt x="26" y="38"/>
                    <a:pt x="38" y="53"/>
                  </a:cubicBezTo>
                  <a:cubicBezTo>
                    <a:pt x="40" y="55"/>
                    <a:pt x="39" y="58"/>
                    <a:pt x="37" y="60"/>
                  </a:cubicBezTo>
                  <a:cubicBezTo>
                    <a:pt x="35" y="62"/>
                    <a:pt x="31" y="62"/>
                    <a:pt x="29" y="60"/>
                  </a:cubicBezTo>
                  <a:cubicBezTo>
                    <a:pt x="18" y="46"/>
                    <a:pt x="0" y="22"/>
                    <a:pt x="4" y="12"/>
                  </a:cubicBezTo>
                  <a:cubicBezTo>
                    <a:pt x="5" y="9"/>
                    <a:pt x="7" y="7"/>
                    <a:pt x="11" y="6"/>
                  </a:cubicBezTo>
                  <a:cubicBezTo>
                    <a:pt x="19" y="5"/>
                    <a:pt x="25" y="8"/>
                    <a:pt x="30" y="11"/>
                  </a:cubicBezTo>
                  <a:cubicBezTo>
                    <a:pt x="36" y="15"/>
                    <a:pt x="39" y="16"/>
                    <a:pt x="45" y="14"/>
                  </a:cubicBezTo>
                  <a:cubicBezTo>
                    <a:pt x="54" y="10"/>
                    <a:pt x="93" y="0"/>
                    <a:pt x="103" y="12"/>
                  </a:cubicBezTo>
                  <a:cubicBezTo>
                    <a:pt x="105" y="14"/>
                    <a:pt x="107" y="19"/>
                    <a:pt x="102" y="27"/>
                  </a:cubicBezTo>
                  <a:cubicBezTo>
                    <a:pt x="88" y="47"/>
                    <a:pt x="82" y="59"/>
                    <a:pt x="82" y="59"/>
                  </a:cubicBezTo>
                  <a:cubicBezTo>
                    <a:pt x="81" y="60"/>
                    <a:pt x="79" y="62"/>
                    <a:pt x="77" y="6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23" name="Shape59_20200717_142846">
            <a:extLst>
              <a:ext uri="{FF2B5EF4-FFF2-40B4-BE49-F238E27FC236}">
                <a16:creationId xmlns:a16="http://schemas.microsoft.com/office/drawing/2014/main" id="{1109CBEF-C1B2-9BE6-E920-AF36C0911C36}"/>
              </a:ext>
            </a:extLst>
          </p:cNvPr>
          <p:cNvGrpSpPr>
            <a:grpSpLocks noChangeAspect="1"/>
          </p:cNvGrpSpPr>
          <p:nvPr/>
        </p:nvGrpSpPr>
        <p:grpSpPr>
          <a:xfrm>
            <a:off x="11065147" y="2564032"/>
            <a:ext cx="506159" cy="530150"/>
            <a:chOff x="-576261" y="2575895"/>
            <a:chExt cx="334963" cy="350842"/>
          </a:xfrm>
          <a:solidFill>
            <a:schemeClr val="accent1"/>
          </a:solidFill>
        </p:grpSpPr>
        <p:sp>
          <p:nvSpPr>
            <p:cNvPr id="424" name="Freeform 1594">
              <a:extLst>
                <a:ext uri="{FF2B5EF4-FFF2-40B4-BE49-F238E27FC236}">
                  <a16:creationId xmlns:a16="http://schemas.microsoft.com/office/drawing/2014/main" id="{631EDB24-B8B5-0872-C3FA-46668F79E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4824" y="2577480"/>
              <a:ext cx="192088" cy="122238"/>
            </a:xfrm>
            <a:custGeom>
              <a:avLst/>
              <a:gdLst>
                <a:gd name="T0" fmla="*/ 121 w 185"/>
                <a:gd name="T1" fmla="*/ 118 h 118"/>
                <a:gd name="T2" fmla="*/ 121 w 185"/>
                <a:gd name="T3" fmla="*/ 118 h 118"/>
                <a:gd name="T4" fmla="*/ 115 w 185"/>
                <a:gd name="T5" fmla="*/ 112 h 118"/>
                <a:gd name="T6" fmla="*/ 115 w 185"/>
                <a:gd name="T7" fmla="*/ 90 h 118"/>
                <a:gd name="T8" fmla="*/ 117 w 185"/>
                <a:gd name="T9" fmla="*/ 86 h 118"/>
                <a:gd name="T10" fmla="*/ 141 w 185"/>
                <a:gd name="T11" fmla="*/ 66 h 118"/>
                <a:gd name="T12" fmla="*/ 167 w 185"/>
                <a:gd name="T13" fmla="*/ 29 h 118"/>
                <a:gd name="T14" fmla="*/ 172 w 185"/>
                <a:gd name="T15" fmla="*/ 18 h 118"/>
                <a:gd name="T16" fmla="*/ 170 w 185"/>
                <a:gd name="T17" fmla="*/ 14 h 118"/>
                <a:gd name="T18" fmla="*/ 165 w 185"/>
                <a:gd name="T19" fmla="*/ 15 h 118"/>
                <a:gd name="T20" fmla="*/ 162 w 185"/>
                <a:gd name="T21" fmla="*/ 22 h 118"/>
                <a:gd name="T22" fmla="*/ 129 w 185"/>
                <a:gd name="T23" fmla="*/ 59 h 118"/>
                <a:gd name="T24" fmla="*/ 114 w 185"/>
                <a:gd name="T25" fmla="*/ 64 h 118"/>
                <a:gd name="T26" fmla="*/ 71 w 185"/>
                <a:gd name="T27" fmla="*/ 64 h 118"/>
                <a:gd name="T28" fmla="*/ 56 w 185"/>
                <a:gd name="T29" fmla="*/ 59 h 118"/>
                <a:gd name="T30" fmla="*/ 23 w 185"/>
                <a:gd name="T31" fmla="*/ 22 h 118"/>
                <a:gd name="T32" fmla="*/ 19 w 185"/>
                <a:gd name="T33" fmla="*/ 15 h 118"/>
                <a:gd name="T34" fmla="*/ 15 w 185"/>
                <a:gd name="T35" fmla="*/ 14 h 118"/>
                <a:gd name="T36" fmla="*/ 13 w 185"/>
                <a:gd name="T37" fmla="*/ 18 h 118"/>
                <a:gd name="T38" fmla="*/ 18 w 185"/>
                <a:gd name="T39" fmla="*/ 29 h 118"/>
                <a:gd name="T40" fmla="*/ 44 w 185"/>
                <a:gd name="T41" fmla="*/ 66 h 118"/>
                <a:gd name="T42" fmla="*/ 68 w 185"/>
                <a:gd name="T43" fmla="*/ 86 h 118"/>
                <a:gd name="T44" fmla="*/ 70 w 185"/>
                <a:gd name="T45" fmla="*/ 90 h 118"/>
                <a:gd name="T46" fmla="*/ 70 w 185"/>
                <a:gd name="T47" fmla="*/ 112 h 118"/>
                <a:gd name="T48" fmla="*/ 64 w 185"/>
                <a:gd name="T49" fmla="*/ 118 h 118"/>
                <a:gd name="T50" fmla="*/ 59 w 185"/>
                <a:gd name="T51" fmla="*/ 112 h 118"/>
                <a:gd name="T52" fmla="*/ 59 w 185"/>
                <a:gd name="T53" fmla="*/ 93 h 118"/>
                <a:gd name="T54" fmla="*/ 37 w 185"/>
                <a:gd name="T55" fmla="*/ 74 h 118"/>
                <a:gd name="T56" fmla="*/ 8 w 185"/>
                <a:gd name="T57" fmla="*/ 33 h 118"/>
                <a:gd name="T58" fmla="*/ 3 w 185"/>
                <a:gd name="T59" fmla="*/ 22 h 118"/>
                <a:gd name="T60" fmla="*/ 10 w 185"/>
                <a:gd name="T61" fmla="*/ 4 h 118"/>
                <a:gd name="T62" fmla="*/ 29 w 185"/>
                <a:gd name="T63" fmla="*/ 10 h 118"/>
                <a:gd name="T64" fmla="*/ 33 w 185"/>
                <a:gd name="T65" fmla="*/ 17 h 118"/>
                <a:gd name="T66" fmla="*/ 62 w 185"/>
                <a:gd name="T67" fmla="*/ 50 h 118"/>
                <a:gd name="T68" fmla="*/ 71 w 185"/>
                <a:gd name="T69" fmla="*/ 53 h 118"/>
                <a:gd name="T70" fmla="*/ 114 w 185"/>
                <a:gd name="T71" fmla="*/ 53 h 118"/>
                <a:gd name="T72" fmla="*/ 123 w 185"/>
                <a:gd name="T73" fmla="*/ 50 h 118"/>
                <a:gd name="T74" fmla="*/ 152 w 185"/>
                <a:gd name="T75" fmla="*/ 16 h 118"/>
                <a:gd name="T76" fmla="*/ 156 w 185"/>
                <a:gd name="T77" fmla="*/ 10 h 118"/>
                <a:gd name="T78" fmla="*/ 175 w 185"/>
                <a:gd name="T79" fmla="*/ 4 h 118"/>
                <a:gd name="T80" fmla="*/ 182 w 185"/>
                <a:gd name="T81" fmla="*/ 22 h 118"/>
                <a:gd name="T82" fmla="*/ 177 w 185"/>
                <a:gd name="T83" fmla="*/ 33 h 118"/>
                <a:gd name="T84" fmla="*/ 148 w 185"/>
                <a:gd name="T85" fmla="*/ 74 h 118"/>
                <a:gd name="T86" fmla="*/ 126 w 185"/>
                <a:gd name="T87" fmla="*/ 93 h 118"/>
                <a:gd name="T88" fmla="*/ 126 w 185"/>
                <a:gd name="T89" fmla="*/ 112 h 118"/>
                <a:gd name="T90" fmla="*/ 121 w 185"/>
                <a:gd name="T91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5" h="118">
                  <a:moveTo>
                    <a:pt x="121" y="118"/>
                  </a:moveTo>
                  <a:cubicBezTo>
                    <a:pt x="121" y="118"/>
                    <a:pt x="121" y="118"/>
                    <a:pt x="121" y="118"/>
                  </a:cubicBezTo>
                  <a:cubicBezTo>
                    <a:pt x="118" y="118"/>
                    <a:pt x="115" y="115"/>
                    <a:pt x="115" y="112"/>
                  </a:cubicBezTo>
                  <a:cubicBezTo>
                    <a:pt x="115" y="90"/>
                    <a:pt x="115" y="90"/>
                    <a:pt x="115" y="90"/>
                  </a:cubicBezTo>
                  <a:cubicBezTo>
                    <a:pt x="115" y="89"/>
                    <a:pt x="116" y="87"/>
                    <a:pt x="117" y="86"/>
                  </a:cubicBezTo>
                  <a:cubicBezTo>
                    <a:pt x="141" y="66"/>
                    <a:pt x="141" y="66"/>
                    <a:pt x="141" y="66"/>
                  </a:cubicBezTo>
                  <a:cubicBezTo>
                    <a:pt x="152" y="56"/>
                    <a:pt x="161" y="43"/>
                    <a:pt x="167" y="29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72" y="16"/>
                    <a:pt x="172" y="14"/>
                    <a:pt x="170" y="14"/>
                  </a:cubicBezTo>
                  <a:cubicBezTo>
                    <a:pt x="168" y="13"/>
                    <a:pt x="166" y="13"/>
                    <a:pt x="165" y="15"/>
                  </a:cubicBezTo>
                  <a:cubicBezTo>
                    <a:pt x="162" y="22"/>
                    <a:pt x="162" y="22"/>
                    <a:pt x="162" y="22"/>
                  </a:cubicBezTo>
                  <a:cubicBezTo>
                    <a:pt x="154" y="36"/>
                    <a:pt x="142" y="49"/>
                    <a:pt x="129" y="59"/>
                  </a:cubicBezTo>
                  <a:cubicBezTo>
                    <a:pt x="125" y="62"/>
                    <a:pt x="119" y="64"/>
                    <a:pt x="114" y="64"/>
                  </a:cubicBezTo>
                  <a:cubicBezTo>
                    <a:pt x="71" y="64"/>
                    <a:pt x="71" y="64"/>
                    <a:pt x="71" y="64"/>
                  </a:cubicBezTo>
                  <a:cubicBezTo>
                    <a:pt x="65" y="64"/>
                    <a:pt x="60" y="62"/>
                    <a:pt x="56" y="59"/>
                  </a:cubicBezTo>
                  <a:cubicBezTo>
                    <a:pt x="42" y="49"/>
                    <a:pt x="31" y="36"/>
                    <a:pt x="23" y="22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8" y="13"/>
                    <a:pt x="16" y="13"/>
                    <a:pt x="15" y="14"/>
                  </a:cubicBezTo>
                  <a:cubicBezTo>
                    <a:pt x="13" y="14"/>
                    <a:pt x="12" y="16"/>
                    <a:pt x="13" y="18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24" y="43"/>
                    <a:pt x="33" y="56"/>
                    <a:pt x="44" y="66"/>
                  </a:cubicBezTo>
                  <a:cubicBezTo>
                    <a:pt x="68" y="86"/>
                    <a:pt x="68" y="86"/>
                    <a:pt x="68" y="86"/>
                  </a:cubicBezTo>
                  <a:cubicBezTo>
                    <a:pt x="69" y="87"/>
                    <a:pt x="70" y="89"/>
                    <a:pt x="70" y="90"/>
                  </a:cubicBezTo>
                  <a:cubicBezTo>
                    <a:pt x="70" y="112"/>
                    <a:pt x="70" y="112"/>
                    <a:pt x="70" y="112"/>
                  </a:cubicBezTo>
                  <a:cubicBezTo>
                    <a:pt x="70" y="115"/>
                    <a:pt x="67" y="118"/>
                    <a:pt x="64" y="118"/>
                  </a:cubicBezTo>
                  <a:cubicBezTo>
                    <a:pt x="61" y="118"/>
                    <a:pt x="59" y="115"/>
                    <a:pt x="59" y="112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24" y="63"/>
                    <a:pt x="14" y="49"/>
                    <a:pt x="8" y="33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0" y="15"/>
                    <a:pt x="3" y="7"/>
                    <a:pt x="10" y="4"/>
                  </a:cubicBezTo>
                  <a:cubicBezTo>
                    <a:pt x="17" y="0"/>
                    <a:pt x="25" y="3"/>
                    <a:pt x="29" y="10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40" y="30"/>
                    <a:pt x="50" y="41"/>
                    <a:pt x="62" y="50"/>
                  </a:cubicBezTo>
                  <a:cubicBezTo>
                    <a:pt x="65" y="52"/>
                    <a:pt x="68" y="53"/>
                    <a:pt x="71" y="53"/>
                  </a:cubicBezTo>
                  <a:cubicBezTo>
                    <a:pt x="114" y="53"/>
                    <a:pt x="114" y="53"/>
                    <a:pt x="114" y="53"/>
                  </a:cubicBezTo>
                  <a:cubicBezTo>
                    <a:pt x="117" y="53"/>
                    <a:pt x="120" y="52"/>
                    <a:pt x="123" y="50"/>
                  </a:cubicBezTo>
                  <a:cubicBezTo>
                    <a:pt x="135" y="41"/>
                    <a:pt x="145" y="30"/>
                    <a:pt x="152" y="16"/>
                  </a:cubicBezTo>
                  <a:cubicBezTo>
                    <a:pt x="156" y="10"/>
                    <a:pt x="156" y="10"/>
                    <a:pt x="156" y="10"/>
                  </a:cubicBezTo>
                  <a:cubicBezTo>
                    <a:pt x="160" y="3"/>
                    <a:pt x="168" y="0"/>
                    <a:pt x="175" y="4"/>
                  </a:cubicBezTo>
                  <a:cubicBezTo>
                    <a:pt x="182" y="7"/>
                    <a:pt x="185" y="15"/>
                    <a:pt x="182" y="22"/>
                  </a:cubicBezTo>
                  <a:cubicBezTo>
                    <a:pt x="177" y="33"/>
                    <a:pt x="177" y="33"/>
                    <a:pt x="177" y="33"/>
                  </a:cubicBezTo>
                  <a:cubicBezTo>
                    <a:pt x="171" y="49"/>
                    <a:pt x="160" y="63"/>
                    <a:pt x="148" y="74"/>
                  </a:cubicBezTo>
                  <a:cubicBezTo>
                    <a:pt x="126" y="93"/>
                    <a:pt x="126" y="93"/>
                    <a:pt x="126" y="93"/>
                  </a:cubicBezTo>
                  <a:cubicBezTo>
                    <a:pt x="126" y="112"/>
                    <a:pt x="126" y="112"/>
                    <a:pt x="126" y="112"/>
                  </a:cubicBezTo>
                  <a:cubicBezTo>
                    <a:pt x="126" y="115"/>
                    <a:pt x="124" y="118"/>
                    <a:pt x="121" y="1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5" name="Freeform 1595">
              <a:extLst>
                <a:ext uri="{FF2B5EF4-FFF2-40B4-BE49-F238E27FC236}">
                  <a16:creationId xmlns:a16="http://schemas.microsoft.com/office/drawing/2014/main" id="{1F5BED43-9007-0B1A-621F-96E53BAAB5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33387" y="2575895"/>
              <a:ext cx="50800" cy="50800"/>
            </a:xfrm>
            <a:custGeom>
              <a:avLst/>
              <a:gdLst>
                <a:gd name="T0" fmla="*/ 24 w 49"/>
                <a:gd name="T1" fmla="*/ 49 h 49"/>
                <a:gd name="T2" fmla="*/ 0 w 49"/>
                <a:gd name="T3" fmla="*/ 25 h 49"/>
                <a:gd name="T4" fmla="*/ 24 w 49"/>
                <a:gd name="T5" fmla="*/ 0 h 49"/>
                <a:gd name="T6" fmla="*/ 49 w 49"/>
                <a:gd name="T7" fmla="*/ 25 h 49"/>
                <a:gd name="T8" fmla="*/ 24 w 49"/>
                <a:gd name="T9" fmla="*/ 49 h 49"/>
                <a:gd name="T10" fmla="*/ 24 w 49"/>
                <a:gd name="T11" fmla="*/ 11 h 49"/>
                <a:gd name="T12" fmla="*/ 11 w 49"/>
                <a:gd name="T13" fmla="*/ 25 h 49"/>
                <a:gd name="T14" fmla="*/ 24 w 49"/>
                <a:gd name="T15" fmla="*/ 38 h 49"/>
                <a:gd name="T16" fmla="*/ 38 w 49"/>
                <a:gd name="T17" fmla="*/ 25 h 49"/>
                <a:gd name="T18" fmla="*/ 24 w 49"/>
                <a:gd name="T19" fmla="*/ 1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49">
                  <a:moveTo>
                    <a:pt x="24" y="49"/>
                  </a:moveTo>
                  <a:cubicBezTo>
                    <a:pt x="11" y="49"/>
                    <a:pt x="0" y="38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9" y="11"/>
                    <a:pt x="49" y="25"/>
                  </a:cubicBezTo>
                  <a:cubicBezTo>
                    <a:pt x="49" y="38"/>
                    <a:pt x="38" y="49"/>
                    <a:pt x="24" y="49"/>
                  </a:cubicBezTo>
                  <a:close/>
                  <a:moveTo>
                    <a:pt x="24" y="11"/>
                  </a:moveTo>
                  <a:cubicBezTo>
                    <a:pt x="17" y="11"/>
                    <a:pt x="11" y="17"/>
                    <a:pt x="11" y="25"/>
                  </a:cubicBezTo>
                  <a:cubicBezTo>
                    <a:pt x="11" y="32"/>
                    <a:pt x="17" y="38"/>
                    <a:pt x="24" y="38"/>
                  </a:cubicBezTo>
                  <a:cubicBezTo>
                    <a:pt x="32" y="38"/>
                    <a:pt x="38" y="32"/>
                    <a:pt x="38" y="25"/>
                  </a:cubicBezTo>
                  <a:cubicBezTo>
                    <a:pt x="38" y="17"/>
                    <a:pt x="32" y="11"/>
                    <a:pt x="2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6" name="Freeform 1596">
              <a:extLst>
                <a:ext uri="{FF2B5EF4-FFF2-40B4-BE49-F238E27FC236}">
                  <a16:creationId xmlns:a16="http://schemas.microsoft.com/office/drawing/2014/main" id="{A42A5093-214C-7DC3-B878-B56C45B35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6261" y="2858470"/>
              <a:ext cx="119062" cy="68263"/>
            </a:xfrm>
            <a:custGeom>
              <a:avLst/>
              <a:gdLst>
                <a:gd name="T0" fmla="*/ 109 w 115"/>
                <a:gd name="T1" fmla="*/ 66 h 66"/>
                <a:gd name="T2" fmla="*/ 104 w 115"/>
                <a:gd name="T3" fmla="*/ 60 h 66"/>
                <a:gd name="T4" fmla="*/ 104 w 115"/>
                <a:gd name="T5" fmla="*/ 28 h 66"/>
                <a:gd name="T6" fmla="*/ 86 w 115"/>
                <a:gd name="T7" fmla="*/ 10 h 66"/>
                <a:gd name="T8" fmla="*/ 29 w 115"/>
                <a:gd name="T9" fmla="*/ 10 h 66"/>
                <a:gd name="T10" fmla="*/ 11 w 115"/>
                <a:gd name="T11" fmla="*/ 28 h 66"/>
                <a:gd name="T12" fmla="*/ 11 w 115"/>
                <a:gd name="T13" fmla="*/ 60 h 66"/>
                <a:gd name="T14" fmla="*/ 6 w 115"/>
                <a:gd name="T15" fmla="*/ 66 h 66"/>
                <a:gd name="T16" fmla="*/ 0 w 115"/>
                <a:gd name="T17" fmla="*/ 60 h 66"/>
                <a:gd name="T18" fmla="*/ 0 w 115"/>
                <a:gd name="T19" fmla="*/ 28 h 66"/>
                <a:gd name="T20" fmla="*/ 29 w 115"/>
                <a:gd name="T21" fmla="*/ 0 h 66"/>
                <a:gd name="T22" fmla="*/ 86 w 115"/>
                <a:gd name="T23" fmla="*/ 0 h 66"/>
                <a:gd name="T24" fmla="*/ 115 w 115"/>
                <a:gd name="T25" fmla="*/ 28 h 66"/>
                <a:gd name="T26" fmla="*/ 115 w 115"/>
                <a:gd name="T27" fmla="*/ 60 h 66"/>
                <a:gd name="T28" fmla="*/ 109 w 115"/>
                <a:gd name="T2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5" h="66">
                  <a:moveTo>
                    <a:pt x="109" y="66"/>
                  </a:moveTo>
                  <a:cubicBezTo>
                    <a:pt x="106" y="66"/>
                    <a:pt x="104" y="63"/>
                    <a:pt x="104" y="60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104" y="18"/>
                    <a:pt x="96" y="10"/>
                    <a:pt x="86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19" y="10"/>
                    <a:pt x="11" y="18"/>
                    <a:pt x="11" y="28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9" y="66"/>
                    <a:pt x="6" y="66"/>
                  </a:cubicBezTo>
                  <a:cubicBezTo>
                    <a:pt x="3" y="66"/>
                    <a:pt x="0" y="63"/>
                    <a:pt x="0" y="6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102" y="0"/>
                    <a:pt x="115" y="12"/>
                    <a:pt x="115" y="28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5" y="63"/>
                    <a:pt x="113" y="66"/>
                    <a:pt x="109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7" name="Freeform 1597">
              <a:extLst>
                <a:ext uri="{FF2B5EF4-FFF2-40B4-BE49-F238E27FC236}">
                  <a16:creationId xmlns:a16="http://schemas.microsoft.com/office/drawing/2014/main" id="{288728B2-BC93-6804-FB80-2815B54BDD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41336" y="2801320"/>
              <a:ext cx="50800" cy="52388"/>
            </a:xfrm>
            <a:custGeom>
              <a:avLst/>
              <a:gdLst>
                <a:gd name="T0" fmla="*/ 25 w 49"/>
                <a:gd name="T1" fmla="*/ 50 h 50"/>
                <a:gd name="T2" fmla="*/ 0 w 49"/>
                <a:gd name="T3" fmla="*/ 25 h 50"/>
                <a:gd name="T4" fmla="*/ 25 w 49"/>
                <a:gd name="T5" fmla="*/ 0 h 50"/>
                <a:gd name="T6" fmla="*/ 49 w 49"/>
                <a:gd name="T7" fmla="*/ 25 h 50"/>
                <a:gd name="T8" fmla="*/ 25 w 49"/>
                <a:gd name="T9" fmla="*/ 50 h 50"/>
                <a:gd name="T10" fmla="*/ 25 w 49"/>
                <a:gd name="T11" fmla="*/ 11 h 50"/>
                <a:gd name="T12" fmla="*/ 11 w 49"/>
                <a:gd name="T13" fmla="*/ 25 h 50"/>
                <a:gd name="T14" fmla="*/ 25 w 49"/>
                <a:gd name="T15" fmla="*/ 39 h 50"/>
                <a:gd name="T16" fmla="*/ 38 w 49"/>
                <a:gd name="T17" fmla="*/ 25 h 50"/>
                <a:gd name="T18" fmla="*/ 25 w 49"/>
                <a:gd name="T19" fmla="*/ 1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50">
                  <a:moveTo>
                    <a:pt x="25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8" y="0"/>
                    <a:pt x="49" y="11"/>
                    <a:pt x="49" y="25"/>
                  </a:cubicBezTo>
                  <a:cubicBezTo>
                    <a:pt x="49" y="39"/>
                    <a:pt x="38" y="50"/>
                    <a:pt x="25" y="50"/>
                  </a:cubicBezTo>
                  <a:close/>
                  <a:moveTo>
                    <a:pt x="25" y="11"/>
                  </a:moveTo>
                  <a:cubicBezTo>
                    <a:pt x="17" y="11"/>
                    <a:pt x="11" y="17"/>
                    <a:pt x="11" y="25"/>
                  </a:cubicBezTo>
                  <a:cubicBezTo>
                    <a:pt x="11" y="33"/>
                    <a:pt x="17" y="39"/>
                    <a:pt x="25" y="39"/>
                  </a:cubicBezTo>
                  <a:cubicBezTo>
                    <a:pt x="32" y="39"/>
                    <a:pt x="38" y="33"/>
                    <a:pt x="38" y="25"/>
                  </a:cubicBezTo>
                  <a:cubicBezTo>
                    <a:pt x="38" y="17"/>
                    <a:pt x="32" y="11"/>
                    <a:pt x="2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8" name="Freeform 1598">
              <a:extLst>
                <a:ext uri="{FF2B5EF4-FFF2-40B4-BE49-F238E27FC236}">
                  <a16:creationId xmlns:a16="http://schemas.microsoft.com/office/drawing/2014/main" id="{1373C103-5794-57A2-7808-B0DB1BA2F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2449" y="2885457"/>
              <a:ext cx="11113" cy="41275"/>
            </a:xfrm>
            <a:custGeom>
              <a:avLst/>
              <a:gdLst>
                <a:gd name="T0" fmla="*/ 5 w 11"/>
                <a:gd name="T1" fmla="*/ 40 h 40"/>
                <a:gd name="T2" fmla="*/ 0 w 11"/>
                <a:gd name="T3" fmla="*/ 34 h 40"/>
                <a:gd name="T4" fmla="*/ 0 w 11"/>
                <a:gd name="T5" fmla="*/ 6 h 40"/>
                <a:gd name="T6" fmla="*/ 5 w 11"/>
                <a:gd name="T7" fmla="*/ 0 h 40"/>
                <a:gd name="T8" fmla="*/ 11 w 11"/>
                <a:gd name="T9" fmla="*/ 6 h 40"/>
                <a:gd name="T10" fmla="*/ 11 w 11"/>
                <a:gd name="T11" fmla="*/ 34 h 40"/>
                <a:gd name="T12" fmla="*/ 5 w 11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0">
                  <a:moveTo>
                    <a:pt x="5" y="40"/>
                  </a:moveTo>
                  <a:cubicBezTo>
                    <a:pt x="2" y="40"/>
                    <a:pt x="0" y="37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7"/>
                    <a:pt x="8" y="40"/>
                    <a:pt x="5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9" name="Freeform 1599">
              <a:extLst>
                <a:ext uri="{FF2B5EF4-FFF2-40B4-BE49-F238E27FC236}">
                  <a16:creationId xmlns:a16="http://schemas.microsoft.com/office/drawing/2014/main" id="{880F346A-6836-753D-6332-FC4F9FB88E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0536" y="2885457"/>
              <a:ext cx="11113" cy="41275"/>
            </a:xfrm>
            <a:custGeom>
              <a:avLst/>
              <a:gdLst>
                <a:gd name="T0" fmla="*/ 6 w 11"/>
                <a:gd name="T1" fmla="*/ 40 h 40"/>
                <a:gd name="T2" fmla="*/ 0 w 11"/>
                <a:gd name="T3" fmla="*/ 34 h 40"/>
                <a:gd name="T4" fmla="*/ 0 w 11"/>
                <a:gd name="T5" fmla="*/ 6 h 40"/>
                <a:gd name="T6" fmla="*/ 6 w 11"/>
                <a:gd name="T7" fmla="*/ 0 h 40"/>
                <a:gd name="T8" fmla="*/ 11 w 11"/>
                <a:gd name="T9" fmla="*/ 6 h 40"/>
                <a:gd name="T10" fmla="*/ 11 w 11"/>
                <a:gd name="T11" fmla="*/ 34 h 40"/>
                <a:gd name="T12" fmla="*/ 6 w 11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0">
                  <a:moveTo>
                    <a:pt x="6" y="40"/>
                  </a:moveTo>
                  <a:cubicBezTo>
                    <a:pt x="3" y="40"/>
                    <a:pt x="0" y="37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7"/>
                    <a:pt x="9" y="40"/>
                    <a:pt x="6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0" name="Freeform 1600">
              <a:extLst>
                <a:ext uri="{FF2B5EF4-FFF2-40B4-BE49-F238E27FC236}">
                  <a16:creationId xmlns:a16="http://schemas.microsoft.com/office/drawing/2014/main" id="{F89C15EF-8839-8553-78F5-FC3163043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8311" y="2858470"/>
              <a:ext cx="119063" cy="68263"/>
            </a:xfrm>
            <a:custGeom>
              <a:avLst/>
              <a:gdLst>
                <a:gd name="T0" fmla="*/ 109 w 115"/>
                <a:gd name="T1" fmla="*/ 66 h 66"/>
                <a:gd name="T2" fmla="*/ 104 w 115"/>
                <a:gd name="T3" fmla="*/ 60 h 66"/>
                <a:gd name="T4" fmla="*/ 104 w 115"/>
                <a:gd name="T5" fmla="*/ 28 h 66"/>
                <a:gd name="T6" fmla="*/ 86 w 115"/>
                <a:gd name="T7" fmla="*/ 10 h 66"/>
                <a:gd name="T8" fmla="*/ 29 w 115"/>
                <a:gd name="T9" fmla="*/ 10 h 66"/>
                <a:gd name="T10" fmla="*/ 11 w 115"/>
                <a:gd name="T11" fmla="*/ 28 h 66"/>
                <a:gd name="T12" fmla="*/ 11 w 115"/>
                <a:gd name="T13" fmla="*/ 60 h 66"/>
                <a:gd name="T14" fmla="*/ 5 w 115"/>
                <a:gd name="T15" fmla="*/ 66 h 66"/>
                <a:gd name="T16" fmla="*/ 0 w 115"/>
                <a:gd name="T17" fmla="*/ 60 h 66"/>
                <a:gd name="T18" fmla="*/ 0 w 115"/>
                <a:gd name="T19" fmla="*/ 28 h 66"/>
                <a:gd name="T20" fmla="*/ 29 w 115"/>
                <a:gd name="T21" fmla="*/ 0 h 66"/>
                <a:gd name="T22" fmla="*/ 86 w 115"/>
                <a:gd name="T23" fmla="*/ 0 h 66"/>
                <a:gd name="T24" fmla="*/ 115 w 115"/>
                <a:gd name="T25" fmla="*/ 28 h 66"/>
                <a:gd name="T26" fmla="*/ 115 w 115"/>
                <a:gd name="T27" fmla="*/ 60 h 66"/>
                <a:gd name="T28" fmla="*/ 109 w 115"/>
                <a:gd name="T2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5" h="66">
                  <a:moveTo>
                    <a:pt x="109" y="66"/>
                  </a:moveTo>
                  <a:cubicBezTo>
                    <a:pt x="106" y="66"/>
                    <a:pt x="104" y="63"/>
                    <a:pt x="104" y="60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104" y="18"/>
                    <a:pt x="96" y="10"/>
                    <a:pt x="86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19" y="10"/>
                    <a:pt x="11" y="18"/>
                    <a:pt x="11" y="28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9" y="66"/>
                    <a:pt x="5" y="66"/>
                  </a:cubicBezTo>
                  <a:cubicBezTo>
                    <a:pt x="2" y="66"/>
                    <a:pt x="0" y="63"/>
                    <a:pt x="0" y="6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102" y="0"/>
                    <a:pt x="115" y="12"/>
                    <a:pt x="115" y="28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5" y="63"/>
                    <a:pt x="112" y="66"/>
                    <a:pt x="109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1" name="Freeform 1601">
              <a:extLst>
                <a:ext uri="{FF2B5EF4-FFF2-40B4-BE49-F238E27FC236}">
                  <a16:creationId xmlns:a16="http://schemas.microsoft.com/office/drawing/2014/main" id="{09B1F55D-303C-BA6B-5890-0FD2192383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33387" y="2801320"/>
              <a:ext cx="50800" cy="52388"/>
            </a:xfrm>
            <a:custGeom>
              <a:avLst/>
              <a:gdLst>
                <a:gd name="T0" fmla="*/ 24 w 49"/>
                <a:gd name="T1" fmla="*/ 50 h 50"/>
                <a:gd name="T2" fmla="*/ 0 w 49"/>
                <a:gd name="T3" fmla="*/ 25 h 50"/>
                <a:gd name="T4" fmla="*/ 24 w 49"/>
                <a:gd name="T5" fmla="*/ 0 h 50"/>
                <a:gd name="T6" fmla="*/ 49 w 49"/>
                <a:gd name="T7" fmla="*/ 25 h 50"/>
                <a:gd name="T8" fmla="*/ 24 w 49"/>
                <a:gd name="T9" fmla="*/ 50 h 50"/>
                <a:gd name="T10" fmla="*/ 24 w 49"/>
                <a:gd name="T11" fmla="*/ 11 h 50"/>
                <a:gd name="T12" fmla="*/ 11 w 49"/>
                <a:gd name="T13" fmla="*/ 25 h 50"/>
                <a:gd name="T14" fmla="*/ 24 w 49"/>
                <a:gd name="T15" fmla="*/ 39 h 50"/>
                <a:gd name="T16" fmla="*/ 38 w 49"/>
                <a:gd name="T17" fmla="*/ 25 h 50"/>
                <a:gd name="T18" fmla="*/ 24 w 49"/>
                <a:gd name="T19" fmla="*/ 1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50">
                  <a:moveTo>
                    <a:pt x="24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9" y="11"/>
                    <a:pt x="49" y="25"/>
                  </a:cubicBezTo>
                  <a:cubicBezTo>
                    <a:pt x="49" y="39"/>
                    <a:pt x="38" y="50"/>
                    <a:pt x="24" y="50"/>
                  </a:cubicBezTo>
                  <a:close/>
                  <a:moveTo>
                    <a:pt x="24" y="11"/>
                  </a:moveTo>
                  <a:cubicBezTo>
                    <a:pt x="17" y="11"/>
                    <a:pt x="11" y="17"/>
                    <a:pt x="11" y="25"/>
                  </a:cubicBezTo>
                  <a:cubicBezTo>
                    <a:pt x="11" y="33"/>
                    <a:pt x="17" y="39"/>
                    <a:pt x="24" y="39"/>
                  </a:cubicBezTo>
                  <a:cubicBezTo>
                    <a:pt x="32" y="39"/>
                    <a:pt x="38" y="33"/>
                    <a:pt x="38" y="25"/>
                  </a:cubicBezTo>
                  <a:cubicBezTo>
                    <a:pt x="38" y="17"/>
                    <a:pt x="32" y="11"/>
                    <a:pt x="2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2" name="Freeform 1602">
              <a:extLst>
                <a:ext uri="{FF2B5EF4-FFF2-40B4-BE49-F238E27FC236}">
                  <a16:creationId xmlns:a16="http://schemas.microsoft.com/office/drawing/2014/main" id="{D90875CB-9269-03CC-2491-DA21EF9A19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4499" y="2885457"/>
              <a:ext cx="11113" cy="41275"/>
            </a:xfrm>
            <a:custGeom>
              <a:avLst/>
              <a:gdLst>
                <a:gd name="T0" fmla="*/ 5 w 11"/>
                <a:gd name="T1" fmla="*/ 40 h 40"/>
                <a:gd name="T2" fmla="*/ 0 w 11"/>
                <a:gd name="T3" fmla="*/ 34 h 40"/>
                <a:gd name="T4" fmla="*/ 0 w 11"/>
                <a:gd name="T5" fmla="*/ 6 h 40"/>
                <a:gd name="T6" fmla="*/ 5 w 11"/>
                <a:gd name="T7" fmla="*/ 0 h 40"/>
                <a:gd name="T8" fmla="*/ 11 w 11"/>
                <a:gd name="T9" fmla="*/ 6 h 40"/>
                <a:gd name="T10" fmla="*/ 11 w 11"/>
                <a:gd name="T11" fmla="*/ 34 h 40"/>
                <a:gd name="T12" fmla="*/ 5 w 11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0">
                  <a:moveTo>
                    <a:pt x="5" y="40"/>
                  </a:moveTo>
                  <a:cubicBezTo>
                    <a:pt x="2" y="40"/>
                    <a:pt x="0" y="37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7"/>
                    <a:pt x="8" y="40"/>
                    <a:pt x="5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3" name="Freeform 1603">
              <a:extLst>
                <a:ext uri="{FF2B5EF4-FFF2-40B4-BE49-F238E27FC236}">
                  <a16:creationId xmlns:a16="http://schemas.microsoft.com/office/drawing/2014/main" id="{DB5CFF77-97E1-449C-8874-957CACBB1D9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2586" y="2885457"/>
              <a:ext cx="11113" cy="41275"/>
            </a:xfrm>
            <a:custGeom>
              <a:avLst/>
              <a:gdLst>
                <a:gd name="T0" fmla="*/ 6 w 11"/>
                <a:gd name="T1" fmla="*/ 40 h 40"/>
                <a:gd name="T2" fmla="*/ 0 w 11"/>
                <a:gd name="T3" fmla="*/ 34 h 40"/>
                <a:gd name="T4" fmla="*/ 0 w 11"/>
                <a:gd name="T5" fmla="*/ 6 h 40"/>
                <a:gd name="T6" fmla="*/ 6 w 11"/>
                <a:gd name="T7" fmla="*/ 0 h 40"/>
                <a:gd name="T8" fmla="*/ 11 w 11"/>
                <a:gd name="T9" fmla="*/ 6 h 40"/>
                <a:gd name="T10" fmla="*/ 11 w 11"/>
                <a:gd name="T11" fmla="*/ 34 h 40"/>
                <a:gd name="T12" fmla="*/ 6 w 11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0">
                  <a:moveTo>
                    <a:pt x="6" y="40"/>
                  </a:moveTo>
                  <a:cubicBezTo>
                    <a:pt x="3" y="40"/>
                    <a:pt x="0" y="37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7"/>
                    <a:pt x="9" y="40"/>
                    <a:pt x="6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4" name="Freeform 1604">
              <a:extLst>
                <a:ext uri="{FF2B5EF4-FFF2-40B4-BE49-F238E27FC236}">
                  <a16:creationId xmlns:a16="http://schemas.microsoft.com/office/drawing/2014/main" id="{C8B9C758-EC1C-3177-9F18-FDBD0B193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0361" y="2858474"/>
              <a:ext cx="119063" cy="68263"/>
            </a:xfrm>
            <a:custGeom>
              <a:avLst/>
              <a:gdLst>
                <a:gd name="T0" fmla="*/ 109 w 115"/>
                <a:gd name="T1" fmla="*/ 66 h 66"/>
                <a:gd name="T2" fmla="*/ 104 w 115"/>
                <a:gd name="T3" fmla="*/ 60 h 66"/>
                <a:gd name="T4" fmla="*/ 104 w 115"/>
                <a:gd name="T5" fmla="*/ 28 h 66"/>
                <a:gd name="T6" fmla="*/ 86 w 115"/>
                <a:gd name="T7" fmla="*/ 10 h 66"/>
                <a:gd name="T8" fmla="*/ 28 w 115"/>
                <a:gd name="T9" fmla="*/ 10 h 66"/>
                <a:gd name="T10" fmla="*/ 11 w 115"/>
                <a:gd name="T11" fmla="*/ 28 h 66"/>
                <a:gd name="T12" fmla="*/ 11 w 115"/>
                <a:gd name="T13" fmla="*/ 60 h 66"/>
                <a:gd name="T14" fmla="*/ 5 w 115"/>
                <a:gd name="T15" fmla="*/ 66 h 66"/>
                <a:gd name="T16" fmla="*/ 0 w 115"/>
                <a:gd name="T17" fmla="*/ 60 h 66"/>
                <a:gd name="T18" fmla="*/ 0 w 115"/>
                <a:gd name="T19" fmla="*/ 28 h 66"/>
                <a:gd name="T20" fmla="*/ 28 w 115"/>
                <a:gd name="T21" fmla="*/ 0 h 66"/>
                <a:gd name="T22" fmla="*/ 86 w 115"/>
                <a:gd name="T23" fmla="*/ 0 h 66"/>
                <a:gd name="T24" fmla="*/ 115 w 115"/>
                <a:gd name="T25" fmla="*/ 28 h 66"/>
                <a:gd name="T26" fmla="*/ 115 w 115"/>
                <a:gd name="T27" fmla="*/ 60 h 66"/>
                <a:gd name="T28" fmla="*/ 109 w 115"/>
                <a:gd name="T2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5" h="66">
                  <a:moveTo>
                    <a:pt x="109" y="66"/>
                  </a:moveTo>
                  <a:cubicBezTo>
                    <a:pt x="106" y="66"/>
                    <a:pt x="104" y="63"/>
                    <a:pt x="104" y="60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104" y="18"/>
                    <a:pt x="96" y="10"/>
                    <a:pt x="86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19" y="10"/>
                    <a:pt x="11" y="18"/>
                    <a:pt x="11" y="28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8" y="66"/>
                    <a:pt x="5" y="66"/>
                  </a:cubicBezTo>
                  <a:cubicBezTo>
                    <a:pt x="2" y="66"/>
                    <a:pt x="0" y="63"/>
                    <a:pt x="0" y="6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8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102" y="0"/>
                    <a:pt x="115" y="12"/>
                    <a:pt x="115" y="28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5" y="63"/>
                    <a:pt x="112" y="66"/>
                    <a:pt x="109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5" name="Freeform 1605">
              <a:extLst>
                <a:ext uri="{FF2B5EF4-FFF2-40B4-BE49-F238E27FC236}">
                  <a16:creationId xmlns:a16="http://schemas.microsoft.com/office/drawing/2014/main" id="{010F9F1A-136F-C71E-331C-EFF730F70C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5437" y="2801324"/>
              <a:ext cx="50800" cy="52388"/>
            </a:xfrm>
            <a:custGeom>
              <a:avLst/>
              <a:gdLst>
                <a:gd name="T0" fmla="*/ 24 w 49"/>
                <a:gd name="T1" fmla="*/ 50 h 50"/>
                <a:gd name="T2" fmla="*/ 0 w 49"/>
                <a:gd name="T3" fmla="*/ 25 h 50"/>
                <a:gd name="T4" fmla="*/ 24 w 49"/>
                <a:gd name="T5" fmla="*/ 0 h 50"/>
                <a:gd name="T6" fmla="*/ 49 w 49"/>
                <a:gd name="T7" fmla="*/ 25 h 50"/>
                <a:gd name="T8" fmla="*/ 24 w 49"/>
                <a:gd name="T9" fmla="*/ 50 h 50"/>
                <a:gd name="T10" fmla="*/ 24 w 49"/>
                <a:gd name="T11" fmla="*/ 11 h 50"/>
                <a:gd name="T12" fmla="*/ 10 w 49"/>
                <a:gd name="T13" fmla="*/ 25 h 50"/>
                <a:gd name="T14" fmla="*/ 24 w 49"/>
                <a:gd name="T15" fmla="*/ 39 h 50"/>
                <a:gd name="T16" fmla="*/ 38 w 49"/>
                <a:gd name="T17" fmla="*/ 25 h 50"/>
                <a:gd name="T18" fmla="*/ 24 w 49"/>
                <a:gd name="T19" fmla="*/ 1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50">
                  <a:moveTo>
                    <a:pt x="24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9" y="11"/>
                    <a:pt x="49" y="25"/>
                  </a:cubicBezTo>
                  <a:cubicBezTo>
                    <a:pt x="49" y="39"/>
                    <a:pt x="38" y="50"/>
                    <a:pt x="24" y="50"/>
                  </a:cubicBezTo>
                  <a:close/>
                  <a:moveTo>
                    <a:pt x="24" y="11"/>
                  </a:moveTo>
                  <a:cubicBezTo>
                    <a:pt x="17" y="11"/>
                    <a:pt x="10" y="17"/>
                    <a:pt x="10" y="25"/>
                  </a:cubicBezTo>
                  <a:cubicBezTo>
                    <a:pt x="10" y="33"/>
                    <a:pt x="17" y="39"/>
                    <a:pt x="24" y="39"/>
                  </a:cubicBezTo>
                  <a:cubicBezTo>
                    <a:pt x="32" y="39"/>
                    <a:pt x="38" y="33"/>
                    <a:pt x="38" y="25"/>
                  </a:cubicBezTo>
                  <a:cubicBezTo>
                    <a:pt x="38" y="17"/>
                    <a:pt x="32" y="11"/>
                    <a:pt x="2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6" name="Freeform 1606">
              <a:extLst>
                <a:ext uri="{FF2B5EF4-FFF2-40B4-BE49-F238E27FC236}">
                  <a16:creationId xmlns:a16="http://schemas.microsoft.com/office/drawing/2014/main" id="{CD22C98D-84F8-149E-AD96-1B2007E5BB3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6549" y="2885461"/>
              <a:ext cx="9525" cy="41275"/>
            </a:xfrm>
            <a:custGeom>
              <a:avLst/>
              <a:gdLst>
                <a:gd name="T0" fmla="*/ 5 w 10"/>
                <a:gd name="T1" fmla="*/ 40 h 40"/>
                <a:gd name="T2" fmla="*/ 0 w 10"/>
                <a:gd name="T3" fmla="*/ 34 h 40"/>
                <a:gd name="T4" fmla="*/ 0 w 10"/>
                <a:gd name="T5" fmla="*/ 6 h 40"/>
                <a:gd name="T6" fmla="*/ 5 w 10"/>
                <a:gd name="T7" fmla="*/ 0 h 40"/>
                <a:gd name="T8" fmla="*/ 10 w 10"/>
                <a:gd name="T9" fmla="*/ 6 h 40"/>
                <a:gd name="T10" fmla="*/ 10 w 10"/>
                <a:gd name="T11" fmla="*/ 34 h 40"/>
                <a:gd name="T12" fmla="*/ 5 w 10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0">
                  <a:moveTo>
                    <a:pt x="5" y="40"/>
                  </a:moveTo>
                  <a:cubicBezTo>
                    <a:pt x="2" y="40"/>
                    <a:pt x="0" y="37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0" y="3"/>
                    <a:pt x="10" y="6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7"/>
                    <a:pt x="8" y="40"/>
                    <a:pt x="5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7" name="Freeform 1607">
              <a:extLst>
                <a:ext uri="{FF2B5EF4-FFF2-40B4-BE49-F238E27FC236}">
                  <a16:creationId xmlns:a16="http://schemas.microsoft.com/office/drawing/2014/main" id="{D4E06516-9B5B-294A-9A6C-A3EE29D25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4636" y="2885459"/>
              <a:ext cx="11113" cy="41275"/>
            </a:xfrm>
            <a:custGeom>
              <a:avLst/>
              <a:gdLst>
                <a:gd name="T0" fmla="*/ 6 w 11"/>
                <a:gd name="T1" fmla="*/ 40 h 40"/>
                <a:gd name="T2" fmla="*/ 0 w 11"/>
                <a:gd name="T3" fmla="*/ 34 h 40"/>
                <a:gd name="T4" fmla="*/ 0 w 11"/>
                <a:gd name="T5" fmla="*/ 6 h 40"/>
                <a:gd name="T6" fmla="*/ 6 w 11"/>
                <a:gd name="T7" fmla="*/ 0 h 40"/>
                <a:gd name="T8" fmla="*/ 11 w 11"/>
                <a:gd name="T9" fmla="*/ 6 h 40"/>
                <a:gd name="T10" fmla="*/ 11 w 11"/>
                <a:gd name="T11" fmla="*/ 34 h 40"/>
                <a:gd name="T12" fmla="*/ 6 w 11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0">
                  <a:moveTo>
                    <a:pt x="6" y="40"/>
                  </a:moveTo>
                  <a:cubicBezTo>
                    <a:pt x="3" y="40"/>
                    <a:pt x="0" y="37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7"/>
                    <a:pt x="9" y="40"/>
                    <a:pt x="6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8" name="Freeform 1608">
              <a:extLst>
                <a:ext uri="{FF2B5EF4-FFF2-40B4-BE49-F238E27FC236}">
                  <a16:creationId xmlns:a16="http://schemas.microsoft.com/office/drawing/2014/main" id="{24BD2FAF-C4B7-6137-B465-93AF6401E0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7200" y="2688605"/>
              <a:ext cx="98425" cy="93663"/>
            </a:xfrm>
            <a:custGeom>
              <a:avLst/>
              <a:gdLst>
                <a:gd name="T0" fmla="*/ 80 w 95"/>
                <a:gd name="T1" fmla="*/ 90 h 90"/>
                <a:gd name="T2" fmla="*/ 15 w 95"/>
                <a:gd name="T3" fmla="*/ 90 h 90"/>
                <a:gd name="T4" fmla="*/ 10 w 95"/>
                <a:gd name="T5" fmla="*/ 85 h 90"/>
                <a:gd name="T6" fmla="*/ 0 w 95"/>
                <a:gd name="T7" fmla="*/ 6 h 90"/>
                <a:gd name="T8" fmla="*/ 1 w 95"/>
                <a:gd name="T9" fmla="*/ 2 h 90"/>
                <a:gd name="T10" fmla="*/ 5 w 95"/>
                <a:gd name="T11" fmla="*/ 0 h 90"/>
                <a:gd name="T12" fmla="*/ 89 w 95"/>
                <a:gd name="T13" fmla="*/ 0 h 90"/>
                <a:gd name="T14" fmla="*/ 94 w 95"/>
                <a:gd name="T15" fmla="*/ 2 h 90"/>
                <a:gd name="T16" fmla="*/ 95 w 95"/>
                <a:gd name="T17" fmla="*/ 6 h 90"/>
                <a:gd name="T18" fmla="*/ 85 w 95"/>
                <a:gd name="T19" fmla="*/ 85 h 90"/>
                <a:gd name="T20" fmla="*/ 80 w 95"/>
                <a:gd name="T21" fmla="*/ 90 h 90"/>
                <a:gd name="T22" fmla="*/ 20 w 95"/>
                <a:gd name="T23" fmla="*/ 79 h 90"/>
                <a:gd name="T24" fmla="*/ 75 w 95"/>
                <a:gd name="T25" fmla="*/ 79 h 90"/>
                <a:gd name="T26" fmla="*/ 83 w 95"/>
                <a:gd name="T27" fmla="*/ 11 h 90"/>
                <a:gd name="T28" fmla="*/ 12 w 95"/>
                <a:gd name="T29" fmla="*/ 11 h 90"/>
                <a:gd name="T30" fmla="*/ 20 w 95"/>
                <a:gd name="T31" fmla="*/ 7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5" h="90">
                  <a:moveTo>
                    <a:pt x="80" y="90"/>
                  </a:moveTo>
                  <a:cubicBezTo>
                    <a:pt x="15" y="90"/>
                    <a:pt x="15" y="90"/>
                    <a:pt x="15" y="90"/>
                  </a:cubicBezTo>
                  <a:cubicBezTo>
                    <a:pt x="12" y="90"/>
                    <a:pt x="10" y="87"/>
                    <a:pt x="10" y="8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1"/>
                    <a:pt x="4" y="0"/>
                    <a:pt x="5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1" y="0"/>
                    <a:pt x="93" y="1"/>
                    <a:pt x="94" y="2"/>
                  </a:cubicBezTo>
                  <a:cubicBezTo>
                    <a:pt x="95" y="3"/>
                    <a:pt x="95" y="5"/>
                    <a:pt x="95" y="6"/>
                  </a:cubicBezTo>
                  <a:cubicBezTo>
                    <a:pt x="85" y="85"/>
                    <a:pt x="85" y="85"/>
                    <a:pt x="85" y="85"/>
                  </a:cubicBezTo>
                  <a:cubicBezTo>
                    <a:pt x="85" y="87"/>
                    <a:pt x="82" y="90"/>
                    <a:pt x="80" y="90"/>
                  </a:cubicBezTo>
                  <a:close/>
                  <a:moveTo>
                    <a:pt x="20" y="79"/>
                  </a:moveTo>
                  <a:cubicBezTo>
                    <a:pt x="75" y="79"/>
                    <a:pt x="75" y="79"/>
                    <a:pt x="75" y="79"/>
                  </a:cubicBezTo>
                  <a:cubicBezTo>
                    <a:pt x="83" y="11"/>
                    <a:pt x="83" y="11"/>
                    <a:pt x="83" y="11"/>
                  </a:cubicBezTo>
                  <a:cubicBezTo>
                    <a:pt x="12" y="11"/>
                    <a:pt x="12" y="11"/>
                    <a:pt x="12" y="11"/>
                  </a:cubicBezTo>
                  <a:lnTo>
                    <a:pt x="20" y="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39" name="Shape64_20200717_142846">
            <a:extLst>
              <a:ext uri="{FF2B5EF4-FFF2-40B4-BE49-F238E27FC236}">
                <a16:creationId xmlns:a16="http://schemas.microsoft.com/office/drawing/2014/main" id="{658E4134-0A87-10C1-3038-41F8BDE53DE6}"/>
              </a:ext>
            </a:extLst>
          </p:cNvPr>
          <p:cNvGrpSpPr>
            <a:grpSpLocks noChangeAspect="1"/>
          </p:cNvGrpSpPr>
          <p:nvPr/>
        </p:nvGrpSpPr>
        <p:grpSpPr>
          <a:xfrm>
            <a:off x="11121521" y="3808418"/>
            <a:ext cx="393408" cy="652479"/>
            <a:chOff x="-1250961" y="2111388"/>
            <a:chExt cx="260351" cy="431799"/>
          </a:xfrm>
          <a:solidFill>
            <a:schemeClr val="accent1"/>
          </a:solidFill>
        </p:grpSpPr>
        <p:sp>
          <p:nvSpPr>
            <p:cNvPr id="440" name="Freeform 443">
              <a:extLst>
                <a:ext uri="{FF2B5EF4-FFF2-40B4-BE49-F238E27FC236}">
                  <a16:creationId xmlns:a16="http://schemas.microsoft.com/office/drawing/2014/main" id="{4A303215-4081-75E0-210E-5088FC9037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27136" y="2486037"/>
              <a:ext cx="136526" cy="57150"/>
            </a:xfrm>
            <a:custGeom>
              <a:avLst/>
              <a:gdLst>
                <a:gd name="T0" fmla="*/ 58 w 61"/>
                <a:gd name="T1" fmla="*/ 25 h 25"/>
                <a:gd name="T2" fmla="*/ 2 w 61"/>
                <a:gd name="T3" fmla="*/ 25 h 25"/>
                <a:gd name="T4" fmla="*/ 0 w 61"/>
                <a:gd name="T5" fmla="*/ 23 h 25"/>
                <a:gd name="T6" fmla="*/ 0 w 61"/>
                <a:gd name="T7" fmla="*/ 3 h 25"/>
                <a:gd name="T8" fmla="*/ 2 w 61"/>
                <a:gd name="T9" fmla="*/ 0 h 25"/>
                <a:gd name="T10" fmla="*/ 58 w 61"/>
                <a:gd name="T11" fmla="*/ 0 h 25"/>
                <a:gd name="T12" fmla="*/ 61 w 61"/>
                <a:gd name="T13" fmla="*/ 3 h 25"/>
                <a:gd name="T14" fmla="*/ 61 w 61"/>
                <a:gd name="T15" fmla="*/ 23 h 25"/>
                <a:gd name="T16" fmla="*/ 58 w 61"/>
                <a:gd name="T17" fmla="*/ 25 h 25"/>
                <a:gd name="T18" fmla="*/ 5 w 61"/>
                <a:gd name="T19" fmla="*/ 20 h 25"/>
                <a:gd name="T20" fmla="*/ 56 w 61"/>
                <a:gd name="T21" fmla="*/ 20 h 25"/>
                <a:gd name="T22" fmla="*/ 56 w 61"/>
                <a:gd name="T23" fmla="*/ 5 h 25"/>
                <a:gd name="T24" fmla="*/ 5 w 61"/>
                <a:gd name="T25" fmla="*/ 5 h 25"/>
                <a:gd name="T26" fmla="*/ 5 w 61"/>
                <a:gd name="T27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25">
                  <a:moveTo>
                    <a:pt x="58" y="25"/>
                  </a:moveTo>
                  <a:cubicBezTo>
                    <a:pt x="2" y="25"/>
                    <a:pt x="2" y="25"/>
                    <a:pt x="2" y="25"/>
                  </a:cubicBezTo>
                  <a:cubicBezTo>
                    <a:pt x="1" y="25"/>
                    <a:pt x="0" y="24"/>
                    <a:pt x="0" y="2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0" y="0"/>
                    <a:pt x="61" y="1"/>
                    <a:pt x="61" y="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1" y="24"/>
                    <a:pt x="60" y="25"/>
                    <a:pt x="58" y="25"/>
                  </a:cubicBezTo>
                  <a:close/>
                  <a:moveTo>
                    <a:pt x="5" y="20"/>
                  </a:moveTo>
                  <a:cubicBezTo>
                    <a:pt x="56" y="20"/>
                    <a:pt x="56" y="20"/>
                    <a:pt x="56" y="20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" y="5"/>
                    <a:pt x="5" y="5"/>
                    <a:pt x="5" y="5"/>
                  </a:cubicBezTo>
                  <a:lnTo>
                    <a:pt x="5" y="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1" name="Freeform 444">
              <a:extLst>
                <a:ext uri="{FF2B5EF4-FFF2-40B4-BE49-F238E27FC236}">
                  <a16:creationId xmlns:a16="http://schemas.microsoft.com/office/drawing/2014/main" id="{97099358-209D-65EB-C5D5-E11D9E4A6F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16023" y="2303474"/>
              <a:ext cx="53976" cy="193676"/>
            </a:xfrm>
            <a:custGeom>
              <a:avLst/>
              <a:gdLst>
                <a:gd name="T0" fmla="*/ 10 w 24"/>
                <a:gd name="T1" fmla="*/ 86 h 86"/>
                <a:gd name="T2" fmla="*/ 8 w 24"/>
                <a:gd name="T3" fmla="*/ 84 h 86"/>
                <a:gd name="T4" fmla="*/ 0 w 24"/>
                <a:gd name="T5" fmla="*/ 41 h 86"/>
                <a:gd name="T6" fmla="*/ 0 w 24"/>
                <a:gd name="T7" fmla="*/ 35 h 86"/>
                <a:gd name="T8" fmla="*/ 7 w 24"/>
                <a:gd name="T9" fmla="*/ 7 h 86"/>
                <a:gd name="T10" fmla="*/ 16 w 24"/>
                <a:gd name="T11" fmla="*/ 1 h 86"/>
                <a:gd name="T12" fmla="*/ 17 w 24"/>
                <a:gd name="T13" fmla="*/ 2 h 86"/>
                <a:gd name="T14" fmla="*/ 23 w 24"/>
                <a:gd name="T15" fmla="*/ 10 h 86"/>
                <a:gd name="T16" fmla="*/ 19 w 24"/>
                <a:gd name="T17" fmla="*/ 36 h 86"/>
                <a:gd name="T18" fmla="*/ 24 w 24"/>
                <a:gd name="T19" fmla="*/ 50 h 86"/>
                <a:gd name="T20" fmla="*/ 22 w 24"/>
                <a:gd name="T21" fmla="*/ 53 h 86"/>
                <a:gd name="T22" fmla="*/ 19 w 24"/>
                <a:gd name="T23" fmla="*/ 52 h 86"/>
                <a:gd name="T24" fmla="*/ 14 w 24"/>
                <a:gd name="T25" fmla="*/ 37 h 86"/>
                <a:gd name="T26" fmla="*/ 14 w 24"/>
                <a:gd name="T27" fmla="*/ 36 h 86"/>
                <a:gd name="T28" fmla="*/ 18 w 24"/>
                <a:gd name="T29" fmla="*/ 10 h 86"/>
                <a:gd name="T30" fmla="*/ 16 w 24"/>
                <a:gd name="T31" fmla="*/ 6 h 86"/>
                <a:gd name="T32" fmla="*/ 15 w 24"/>
                <a:gd name="T33" fmla="*/ 6 h 86"/>
                <a:gd name="T34" fmla="*/ 12 w 24"/>
                <a:gd name="T35" fmla="*/ 8 h 86"/>
                <a:gd name="T36" fmla="*/ 5 w 24"/>
                <a:gd name="T37" fmla="*/ 36 h 86"/>
                <a:gd name="T38" fmla="*/ 5 w 24"/>
                <a:gd name="T39" fmla="*/ 40 h 86"/>
                <a:gd name="T40" fmla="*/ 13 w 24"/>
                <a:gd name="T41" fmla="*/ 83 h 86"/>
                <a:gd name="T42" fmla="*/ 11 w 24"/>
                <a:gd name="T43" fmla="*/ 86 h 86"/>
                <a:gd name="T44" fmla="*/ 10 w 24"/>
                <a:gd name="T4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" h="86">
                  <a:moveTo>
                    <a:pt x="10" y="86"/>
                  </a:moveTo>
                  <a:cubicBezTo>
                    <a:pt x="9" y="86"/>
                    <a:pt x="8" y="85"/>
                    <a:pt x="8" y="84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39"/>
                    <a:pt x="0" y="37"/>
                    <a:pt x="0" y="35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3"/>
                    <a:pt x="12" y="0"/>
                    <a:pt x="16" y="1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21" y="2"/>
                    <a:pt x="24" y="6"/>
                    <a:pt x="23" y="10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24" y="50"/>
                    <a:pt x="24" y="50"/>
                    <a:pt x="24" y="50"/>
                  </a:cubicBezTo>
                  <a:cubicBezTo>
                    <a:pt x="24" y="52"/>
                    <a:pt x="23" y="53"/>
                    <a:pt x="22" y="53"/>
                  </a:cubicBezTo>
                  <a:cubicBezTo>
                    <a:pt x="21" y="54"/>
                    <a:pt x="19" y="53"/>
                    <a:pt x="19" y="52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4" y="37"/>
                    <a:pt x="14" y="37"/>
                    <a:pt x="14" y="36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8"/>
                    <a:pt x="17" y="7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6"/>
                    <a:pt x="12" y="7"/>
                    <a:pt x="12" y="8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38"/>
                    <a:pt x="5" y="39"/>
                    <a:pt x="5" y="40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5"/>
                    <a:pt x="12" y="86"/>
                    <a:pt x="11" y="86"/>
                  </a:cubicBezTo>
                  <a:cubicBezTo>
                    <a:pt x="11" y="86"/>
                    <a:pt x="10" y="86"/>
                    <a:pt x="10" y="8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2" name="Freeform 445">
              <a:extLst>
                <a:ext uri="{FF2B5EF4-FFF2-40B4-BE49-F238E27FC236}">
                  <a16:creationId xmlns:a16="http://schemas.microsoft.com/office/drawing/2014/main" id="{E4F9B79F-AC7D-8745-CEC0-9BC06D277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76335" y="2239975"/>
              <a:ext cx="66675" cy="257177"/>
            </a:xfrm>
            <a:custGeom>
              <a:avLst/>
              <a:gdLst>
                <a:gd name="T0" fmla="*/ 22 w 29"/>
                <a:gd name="T1" fmla="*/ 114 h 114"/>
                <a:gd name="T2" fmla="*/ 22 w 29"/>
                <a:gd name="T3" fmla="*/ 114 h 114"/>
                <a:gd name="T4" fmla="*/ 20 w 29"/>
                <a:gd name="T5" fmla="*/ 111 h 114"/>
                <a:gd name="T6" fmla="*/ 13 w 29"/>
                <a:gd name="T7" fmla="*/ 13 h 114"/>
                <a:gd name="T8" fmla="*/ 11 w 29"/>
                <a:gd name="T9" fmla="*/ 7 h 114"/>
                <a:gd name="T10" fmla="*/ 9 w 29"/>
                <a:gd name="T11" fmla="*/ 5 h 114"/>
                <a:gd name="T12" fmla="*/ 6 w 29"/>
                <a:gd name="T13" fmla="*/ 7 h 114"/>
                <a:gd name="T14" fmla="*/ 6 w 29"/>
                <a:gd name="T15" fmla="*/ 8 h 114"/>
                <a:gd name="T16" fmla="*/ 5 w 29"/>
                <a:gd name="T17" fmla="*/ 38 h 114"/>
                <a:gd name="T18" fmla="*/ 2 w 29"/>
                <a:gd name="T19" fmla="*/ 40 h 114"/>
                <a:gd name="T20" fmla="*/ 0 w 29"/>
                <a:gd name="T21" fmla="*/ 38 h 114"/>
                <a:gd name="T22" fmla="*/ 1 w 29"/>
                <a:gd name="T23" fmla="*/ 8 h 114"/>
                <a:gd name="T24" fmla="*/ 2 w 29"/>
                <a:gd name="T25" fmla="*/ 5 h 114"/>
                <a:gd name="T26" fmla="*/ 9 w 29"/>
                <a:gd name="T27" fmla="*/ 0 h 114"/>
                <a:gd name="T28" fmla="*/ 16 w 29"/>
                <a:gd name="T29" fmla="*/ 6 h 114"/>
                <a:gd name="T30" fmla="*/ 17 w 29"/>
                <a:gd name="T31" fmla="*/ 12 h 114"/>
                <a:gd name="T32" fmla="*/ 25 w 29"/>
                <a:gd name="T33" fmla="*/ 112 h 114"/>
                <a:gd name="T34" fmla="*/ 22 w 29"/>
                <a:gd name="T3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" h="114">
                  <a:moveTo>
                    <a:pt x="22" y="114"/>
                  </a:moveTo>
                  <a:cubicBezTo>
                    <a:pt x="22" y="114"/>
                    <a:pt x="22" y="114"/>
                    <a:pt x="22" y="114"/>
                  </a:cubicBezTo>
                  <a:cubicBezTo>
                    <a:pt x="21" y="114"/>
                    <a:pt x="20" y="113"/>
                    <a:pt x="20" y="111"/>
                  </a:cubicBezTo>
                  <a:cubicBezTo>
                    <a:pt x="24" y="78"/>
                    <a:pt x="21" y="45"/>
                    <a:pt x="13" y="13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9" y="5"/>
                    <a:pt x="9" y="5"/>
                  </a:cubicBezTo>
                  <a:cubicBezTo>
                    <a:pt x="8" y="5"/>
                    <a:pt x="7" y="5"/>
                    <a:pt x="6" y="7"/>
                  </a:cubicBezTo>
                  <a:cubicBezTo>
                    <a:pt x="6" y="7"/>
                    <a:pt x="6" y="8"/>
                    <a:pt x="6" y="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9"/>
                    <a:pt x="4" y="40"/>
                    <a:pt x="2" y="40"/>
                  </a:cubicBezTo>
                  <a:cubicBezTo>
                    <a:pt x="1" y="40"/>
                    <a:pt x="0" y="39"/>
                    <a:pt x="0" y="3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7"/>
                    <a:pt x="1" y="6"/>
                    <a:pt x="2" y="5"/>
                  </a:cubicBezTo>
                  <a:cubicBezTo>
                    <a:pt x="3" y="2"/>
                    <a:pt x="6" y="0"/>
                    <a:pt x="9" y="0"/>
                  </a:cubicBezTo>
                  <a:cubicBezTo>
                    <a:pt x="13" y="1"/>
                    <a:pt x="15" y="3"/>
                    <a:pt x="16" y="6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26" y="44"/>
                    <a:pt x="29" y="78"/>
                    <a:pt x="25" y="112"/>
                  </a:cubicBezTo>
                  <a:cubicBezTo>
                    <a:pt x="25" y="113"/>
                    <a:pt x="24" y="114"/>
                    <a:pt x="22" y="1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3" name="Freeform 446">
              <a:extLst>
                <a:ext uri="{FF2B5EF4-FFF2-40B4-BE49-F238E27FC236}">
                  <a16:creationId xmlns:a16="http://schemas.microsoft.com/office/drawing/2014/main" id="{76184ED8-613A-38C3-C41B-6A9090A17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50961" y="2111388"/>
              <a:ext cx="201615" cy="295277"/>
            </a:xfrm>
            <a:custGeom>
              <a:avLst/>
              <a:gdLst>
                <a:gd name="T0" fmla="*/ 62 w 90"/>
                <a:gd name="T1" fmla="*/ 131 h 131"/>
                <a:gd name="T2" fmla="*/ 14 w 90"/>
                <a:gd name="T3" fmla="*/ 131 h 131"/>
                <a:gd name="T4" fmla="*/ 0 w 90"/>
                <a:gd name="T5" fmla="*/ 118 h 131"/>
                <a:gd name="T6" fmla="*/ 0 w 90"/>
                <a:gd name="T7" fmla="*/ 13 h 131"/>
                <a:gd name="T8" fmla="*/ 14 w 90"/>
                <a:gd name="T9" fmla="*/ 0 h 131"/>
                <a:gd name="T10" fmla="*/ 76 w 90"/>
                <a:gd name="T11" fmla="*/ 0 h 131"/>
                <a:gd name="T12" fmla="*/ 90 w 90"/>
                <a:gd name="T13" fmla="*/ 13 h 131"/>
                <a:gd name="T14" fmla="*/ 90 w 90"/>
                <a:gd name="T15" fmla="*/ 60 h 131"/>
                <a:gd name="T16" fmla="*/ 87 w 90"/>
                <a:gd name="T17" fmla="*/ 62 h 131"/>
                <a:gd name="T18" fmla="*/ 85 w 90"/>
                <a:gd name="T19" fmla="*/ 60 h 131"/>
                <a:gd name="T20" fmla="*/ 85 w 90"/>
                <a:gd name="T21" fmla="*/ 13 h 131"/>
                <a:gd name="T22" fmla="*/ 76 w 90"/>
                <a:gd name="T23" fmla="*/ 5 h 131"/>
                <a:gd name="T24" fmla="*/ 14 w 90"/>
                <a:gd name="T25" fmla="*/ 5 h 131"/>
                <a:gd name="T26" fmla="*/ 5 w 90"/>
                <a:gd name="T27" fmla="*/ 13 h 131"/>
                <a:gd name="T28" fmla="*/ 5 w 90"/>
                <a:gd name="T29" fmla="*/ 118 h 131"/>
                <a:gd name="T30" fmla="*/ 14 w 90"/>
                <a:gd name="T31" fmla="*/ 126 h 131"/>
                <a:gd name="T32" fmla="*/ 62 w 90"/>
                <a:gd name="T33" fmla="*/ 126 h 131"/>
                <a:gd name="T34" fmla="*/ 65 w 90"/>
                <a:gd name="T35" fmla="*/ 129 h 131"/>
                <a:gd name="T36" fmla="*/ 62 w 90"/>
                <a:gd name="T37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" h="131">
                  <a:moveTo>
                    <a:pt x="62" y="131"/>
                  </a:moveTo>
                  <a:cubicBezTo>
                    <a:pt x="14" y="131"/>
                    <a:pt x="14" y="131"/>
                    <a:pt x="14" y="131"/>
                  </a:cubicBezTo>
                  <a:cubicBezTo>
                    <a:pt x="6" y="131"/>
                    <a:pt x="0" y="125"/>
                    <a:pt x="0" y="1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4" y="0"/>
                    <a:pt x="90" y="6"/>
                    <a:pt x="90" y="13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1"/>
                    <a:pt x="88" y="62"/>
                    <a:pt x="87" y="62"/>
                  </a:cubicBezTo>
                  <a:cubicBezTo>
                    <a:pt x="86" y="62"/>
                    <a:pt x="85" y="61"/>
                    <a:pt x="85" y="60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5" y="9"/>
                    <a:pt x="81" y="5"/>
                    <a:pt x="76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9" y="5"/>
                    <a:pt x="5" y="9"/>
                    <a:pt x="5" y="13"/>
                  </a:cubicBezTo>
                  <a:cubicBezTo>
                    <a:pt x="5" y="118"/>
                    <a:pt x="5" y="118"/>
                    <a:pt x="5" y="118"/>
                  </a:cubicBezTo>
                  <a:cubicBezTo>
                    <a:pt x="5" y="123"/>
                    <a:pt x="9" y="126"/>
                    <a:pt x="14" y="126"/>
                  </a:cubicBezTo>
                  <a:cubicBezTo>
                    <a:pt x="62" y="126"/>
                    <a:pt x="62" y="126"/>
                    <a:pt x="62" y="126"/>
                  </a:cubicBezTo>
                  <a:cubicBezTo>
                    <a:pt x="64" y="126"/>
                    <a:pt x="65" y="127"/>
                    <a:pt x="65" y="129"/>
                  </a:cubicBezTo>
                  <a:cubicBezTo>
                    <a:pt x="65" y="130"/>
                    <a:pt x="64" y="131"/>
                    <a:pt x="62" y="1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4" name="Freeform 447">
              <a:extLst>
                <a:ext uri="{FF2B5EF4-FFF2-40B4-BE49-F238E27FC236}">
                  <a16:creationId xmlns:a16="http://schemas.microsoft.com/office/drawing/2014/main" id="{08FED969-9E5C-7F0A-6D6F-60C17B9D7D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220798" y="2111389"/>
              <a:ext cx="47625" cy="295277"/>
            </a:xfrm>
            <a:custGeom>
              <a:avLst/>
              <a:gdLst>
                <a:gd name="T0" fmla="*/ 19 w 21"/>
                <a:gd name="T1" fmla="*/ 131 h 131"/>
                <a:gd name="T2" fmla="*/ 2 w 21"/>
                <a:gd name="T3" fmla="*/ 131 h 131"/>
                <a:gd name="T4" fmla="*/ 0 w 21"/>
                <a:gd name="T5" fmla="*/ 129 h 131"/>
                <a:gd name="T6" fmla="*/ 0 w 21"/>
                <a:gd name="T7" fmla="*/ 2 h 131"/>
                <a:gd name="T8" fmla="*/ 2 w 21"/>
                <a:gd name="T9" fmla="*/ 0 h 131"/>
                <a:gd name="T10" fmla="*/ 19 w 21"/>
                <a:gd name="T11" fmla="*/ 0 h 131"/>
                <a:gd name="T12" fmla="*/ 21 w 21"/>
                <a:gd name="T13" fmla="*/ 2 h 131"/>
                <a:gd name="T14" fmla="*/ 21 w 21"/>
                <a:gd name="T15" fmla="*/ 129 h 131"/>
                <a:gd name="T16" fmla="*/ 19 w 21"/>
                <a:gd name="T17" fmla="*/ 131 h 131"/>
                <a:gd name="T18" fmla="*/ 4 w 21"/>
                <a:gd name="T19" fmla="*/ 126 h 131"/>
                <a:gd name="T20" fmla="*/ 16 w 21"/>
                <a:gd name="T21" fmla="*/ 126 h 131"/>
                <a:gd name="T22" fmla="*/ 16 w 21"/>
                <a:gd name="T23" fmla="*/ 5 h 131"/>
                <a:gd name="T24" fmla="*/ 4 w 21"/>
                <a:gd name="T25" fmla="*/ 5 h 131"/>
                <a:gd name="T26" fmla="*/ 4 w 21"/>
                <a:gd name="T27" fmla="*/ 126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131">
                  <a:moveTo>
                    <a:pt x="19" y="131"/>
                  </a:moveTo>
                  <a:cubicBezTo>
                    <a:pt x="2" y="131"/>
                    <a:pt x="2" y="131"/>
                    <a:pt x="2" y="131"/>
                  </a:cubicBezTo>
                  <a:cubicBezTo>
                    <a:pt x="1" y="131"/>
                    <a:pt x="0" y="130"/>
                    <a:pt x="0" y="12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1"/>
                    <a:pt x="21" y="2"/>
                  </a:cubicBezTo>
                  <a:cubicBezTo>
                    <a:pt x="21" y="129"/>
                    <a:pt x="21" y="129"/>
                    <a:pt x="21" y="129"/>
                  </a:cubicBezTo>
                  <a:cubicBezTo>
                    <a:pt x="21" y="130"/>
                    <a:pt x="20" y="131"/>
                    <a:pt x="19" y="131"/>
                  </a:cubicBezTo>
                  <a:close/>
                  <a:moveTo>
                    <a:pt x="4" y="126"/>
                  </a:moveTo>
                  <a:cubicBezTo>
                    <a:pt x="16" y="126"/>
                    <a:pt x="16" y="126"/>
                    <a:pt x="16" y="12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4" y="5"/>
                    <a:pt x="4" y="5"/>
                    <a:pt x="4" y="5"/>
                  </a:cubicBezTo>
                  <a:lnTo>
                    <a:pt x="4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5" name="Freeform 448">
              <a:extLst>
                <a:ext uri="{FF2B5EF4-FFF2-40B4-BE49-F238E27FC236}">
                  <a16:creationId xmlns:a16="http://schemas.microsoft.com/office/drawing/2014/main" id="{C5A3F75F-7931-90EA-C7FE-2225F9939D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20784" y="2171713"/>
              <a:ext cx="42863" cy="42863"/>
            </a:xfrm>
            <a:custGeom>
              <a:avLst/>
              <a:gdLst>
                <a:gd name="T0" fmla="*/ 9 w 19"/>
                <a:gd name="T1" fmla="*/ 19 h 19"/>
                <a:gd name="T2" fmla="*/ 0 w 19"/>
                <a:gd name="T3" fmla="*/ 9 h 19"/>
                <a:gd name="T4" fmla="*/ 9 w 19"/>
                <a:gd name="T5" fmla="*/ 0 h 19"/>
                <a:gd name="T6" fmla="*/ 19 w 19"/>
                <a:gd name="T7" fmla="*/ 9 h 19"/>
                <a:gd name="T8" fmla="*/ 9 w 19"/>
                <a:gd name="T9" fmla="*/ 19 h 19"/>
                <a:gd name="T10" fmla="*/ 9 w 19"/>
                <a:gd name="T11" fmla="*/ 5 h 19"/>
                <a:gd name="T12" fmla="*/ 5 w 19"/>
                <a:gd name="T13" fmla="*/ 9 h 19"/>
                <a:gd name="T14" fmla="*/ 9 w 19"/>
                <a:gd name="T15" fmla="*/ 14 h 19"/>
                <a:gd name="T16" fmla="*/ 14 w 19"/>
                <a:gd name="T17" fmla="*/ 9 h 19"/>
                <a:gd name="T18" fmla="*/ 9 w 19"/>
                <a:gd name="T19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9" y="19"/>
                  </a:moveTo>
                  <a:cubicBezTo>
                    <a:pt x="4" y="19"/>
                    <a:pt x="0" y="15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9" y="4"/>
                    <a:pt x="19" y="9"/>
                  </a:cubicBezTo>
                  <a:cubicBezTo>
                    <a:pt x="19" y="15"/>
                    <a:pt x="14" y="19"/>
                    <a:pt x="9" y="19"/>
                  </a:cubicBezTo>
                  <a:close/>
                  <a:moveTo>
                    <a:pt x="9" y="5"/>
                  </a:moveTo>
                  <a:cubicBezTo>
                    <a:pt x="7" y="5"/>
                    <a:pt x="5" y="7"/>
                    <a:pt x="5" y="9"/>
                  </a:cubicBezTo>
                  <a:cubicBezTo>
                    <a:pt x="5" y="12"/>
                    <a:pt x="7" y="14"/>
                    <a:pt x="9" y="14"/>
                  </a:cubicBezTo>
                  <a:cubicBezTo>
                    <a:pt x="12" y="14"/>
                    <a:pt x="14" y="12"/>
                    <a:pt x="14" y="9"/>
                  </a:cubicBezTo>
                  <a:cubicBezTo>
                    <a:pt x="14" y="7"/>
                    <a:pt x="12" y="5"/>
                    <a:pt x="9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6" name="Freeform 449">
              <a:extLst>
                <a:ext uri="{FF2B5EF4-FFF2-40B4-BE49-F238E27FC236}">
                  <a16:creationId xmlns:a16="http://schemas.microsoft.com/office/drawing/2014/main" id="{4368392C-22A2-D04B-9A81-701C79B835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20776" y="2139950"/>
              <a:ext cx="42863" cy="42863"/>
            </a:xfrm>
            <a:custGeom>
              <a:avLst/>
              <a:gdLst>
                <a:gd name="T0" fmla="*/ 9 w 19"/>
                <a:gd name="T1" fmla="*/ 19 h 19"/>
                <a:gd name="T2" fmla="*/ 0 w 19"/>
                <a:gd name="T3" fmla="*/ 9 h 19"/>
                <a:gd name="T4" fmla="*/ 9 w 19"/>
                <a:gd name="T5" fmla="*/ 0 h 19"/>
                <a:gd name="T6" fmla="*/ 19 w 19"/>
                <a:gd name="T7" fmla="*/ 9 h 19"/>
                <a:gd name="T8" fmla="*/ 9 w 19"/>
                <a:gd name="T9" fmla="*/ 19 h 19"/>
                <a:gd name="T10" fmla="*/ 9 w 19"/>
                <a:gd name="T11" fmla="*/ 5 h 19"/>
                <a:gd name="T12" fmla="*/ 5 w 19"/>
                <a:gd name="T13" fmla="*/ 9 h 19"/>
                <a:gd name="T14" fmla="*/ 9 w 19"/>
                <a:gd name="T15" fmla="*/ 14 h 19"/>
                <a:gd name="T16" fmla="*/ 14 w 19"/>
                <a:gd name="T17" fmla="*/ 9 h 19"/>
                <a:gd name="T18" fmla="*/ 9 w 19"/>
                <a:gd name="T19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9" y="19"/>
                  </a:moveTo>
                  <a:cubicBezTo>
                    <a:pt x="4" y="19"/>
                    <a:pt x="0" y="15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9" y="4"/>
                    <a:pt x="19" y="9"/>
                  </a:cubicBezTo>
                  <a:cubicBezTo>
                    <a:pt x="19" y="15"/>
                    <a:pt x="14" y="19"/>
                    <a:pt x="9" y="19"/>
                  </a:cubicBezTo>
                  <a:close/>
                  <a:moveTo>
                    <a:pt x="9" y="5"/>
                  </a:moveTo>
                  <a:cubicBezTo>
                    <a:pt x="7" y="5"/>
                    <a:pt x="5" y="7"/>
                    <a:pt x="5" y="9"/>
                  </a:cubicBezTo>
                  <a:cubicBezTo>
                    <a:pt x="5" y="12"/>
                    <a:pt x="7" y="14"/>
                    <a:pt x="9" y="14"/>
                  </a:cubicBezTo>
                  <a:cubicBezTo>
                    <a:pt x="12" y="14"/>
                    <a:pt x="14" y="12"/>
                    <a:pt x="14" y="9"/>
                  </a:cubicBezTo>
                  <a:cubicBezTo>
                    <a:pt x="14" y="7"/>
                    <a:pt x="12" y="5"/>
                    <a:pt x="9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47" name="Shape72_20200717_142846">
            <a:extLst>
              <a:ext uri="{FF2B5EF4-FFF2-40B4-BE49-F238E27FC236}">
                <a16:creationId xmlns:a16="http://schemas.microsoft.com/office/drawing/2014/main" id="{B647CA16-619C-0603-F264-00FB24365B29}"/>
              </a:ext>
            </a:extLst>
          </p:cNvPr>
          <p:cNvGrpSpPr>
            <a:grpSpLocks noChangeAspect="1"/>
          </p:cNvGrpSpPr>
          <p:nvPr/>
        </p:nvGrpSpPr>
        <p:grpSpPr>
          <a:xfrm>
            <a:off x="11026765" y="5206332"/>
            <a:ext cx="582915" cy="467767"/>
            <a:chOff x="838184" y="2921002"/>
            <a:chExt cx="385753" cy="309557"/>
          </a:xfrm>
          <a:solidFill>
            <a:schemeClr val="accent1"/>
          </a:solidFill>
        </p:grpSpPr>
        <p:sp>
          <p:nvSpPr>
            <p:cNvPr id="448" name="Freeform 565">
              <a:extLst>
                <a:ext uri="{FF2B5EF4-FFF2-40B4-BE49-F238E27FC236}">
                  <a16:creationId xmlns:a16="http://schemas.microsoft.com/office/drawing/2014/main" id="{7C7C03A4-6C1D-4231-ECA7-8B1E1777E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184" y="2921002"/>
              <a:ext cx="336544" cy="203200"/>
            </a:xfrm>
            <a:custGeom>
              <a:avLst/>
              <a:gdLst>
                <a:gd name="T0" fmla="*/ 128 w 149"/>
                <a:gd name="T1" fmla="*/ 90 h 90"/>
                <a:gd name="T2" fmla="*/ 11 w 149"/>
                <a:gd name="T3" fmla="*/ 90 h 90"/>
                <a:gd name="T4" fmla="*/ 0 w 149"/>
                <a:gd name="T5" fmla="*/ 79 h 90"/>
                <a:gd name="T6" fmla="*/ 0 w 149"/>
                <a:gd name="T7" fmla="*/ 11 h 90"/>
                <a:gd name="T8" fmla="*/ 11 w 149"/>
                <a:gd name="T9" fmla="*/ 0 h 90"/>
                <a:gd name="T10" fmla="*/ 138 w 149"/>
                <a:gd name="T11" fmla="*/ 0 h 90"/>
                <a:gd name="T12" fmla="*/ 149 w 149"/>
                <a:gd name="T13" fmla="*/ 11 h 90"/>
                <a:gd name="T14" fmla="*/ 149 w 149"/>
                <a:gd name="T15" fmla="*/ 79 h 90"/>
                <a:gd name="T16" fmla="*/ 149 w 149"/>
                <a:gd name="T17" fmla="*/ 84 h 90"/>
                <a:gd name="T18" fmla="*/ 146 w 149"/>
                <a:gd name="T19" fmla="*/ 85 h 90"/>
                <a:gd name="T20" fmla="*/ 144 w 149"/>
                <a:gd name="T21" fmla="*/ 83 h 90"/>
                <a:gd name="T22" fmla="*/ 144 w 149"/>
                <a:gd name="T23" fmla="*/ 79 h 90"/>
                <a:gd name="T24" fmla="*/ 144 w 149"/>
                <a:gd name="T25" fmla="*/ 11 h 90"/>
                <a:gd name="T26" fmla="*/ 138 w 149"/>
                <a:gd name="T27" fmla="*/ 5 h 90"/>
                <a:gd name="T28" fmla="*/ 11 w 149"/>
                <a:gd name="T29" fmla="*/ 5 h 90"/>
                <a:gd name="T30" fmla="*/ 5 w 149"/>
                <a:gd name="T31" fmla="*/ 11 h 90"/>
                <a:gd name="T32" fmla="*/ 5 w 149"/>
                <a:gd name="T33" fmla="*/ 79 h 90"/>
                <a:gd name="T34" fmla="*/ 11 w 149"/>
                <a:gd name="T35" fmla="*/ 85 h 90"/>
                <a:gd name="T36" fmla="*/ 128 w 149"/>
                <a:gd name="T37" fmla="*/ 85 h 90"/>
                <a:gd name="T38" fmla="*/ 130 w 149"/>
                <a:gd name="T39" fmla="*/ 88 h 90"/>
                <a:gd name="T40" fmla="*/ 128 w 149"/>
                <a:gd name="T41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9" h="90">
                  <a:moveTo>
                    <a:pt x="128" y="90"/>
                  </a:moveTo>
                  <a:cubicBezTo>
                    <a:pt x="11" y="90"/>
                    <a:pt x="11" y="90"/>
                    <a:pt x="11" y="90"/>
                  </a:cubicBezTo>
                  <a:cubicBezTo>
                    <a:pt x="5" y="90"/>
                    <a:pt x="0" y="85"/>
                    <a:pt x="0" y="7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4" y="0"/>
                    <a:pt x="149" y="5"/>
                    <a:pt x="149" y="11"/>
                  </a:cubicBezTo>
                  <a:cubicBezTo>
                    <a:pt x="149" y="79"/>
                    <a:pt x="149" y="79"/>
                    <a:pt x="149" y="79"/>
                  </a:cubicBezTo>
                  <a:cubicBezTo>
                    <a:pt x="149" y="80"/>
                    <a:pt x="149" y="83"/>
                    <a:pt x="149" y="84"/>
                  </a:cubicBezTo>
                  <a:cubicBezTo>
                    <a:pt x="148" y="85"/>
                    <a:pt x="147" y="86"/>
                    <a:pt x="146" y="85"/>
                  </a:cubicBezTo>
                  <a:cubicBezTo>
                    <a:pt x="144" y="85"/>
                    <a:pt x="143" y="84"/>
                    <a:pt x="144" y="83"/>
                  </a:cubicBezTo>
                  <a:cubicBezTo>
                    <a:pt x="144" y="82"/>
                    <a:pt x="144" y="80"/>
                    <a:pt x="144" y="79"/>
                  </a:cubicBezTo>
                  <a:cubicBezTo>
                    <a:pt x="144" y="11"/>
                    <a:pt x="144" y="11"/>
                    <a:pt x="144" y="11"/>
                  </a:cubicBezTo>
                  <a:cubicBezTo>
                    <a:pt x="144" y="7"/>
                    <a:pt x="141" y="5"/>
                    <a:pt x="138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8" y="5"/>
                    <a:pt x="5" y="7"/>
                    <a:pt x="5" y="11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82"/>
                    <a:pt x="8" y="85"/>
                    <a:pt x="11" y="85"/>
                  </a:cubicBezTo>
                  <a:cubicBezTo>
                    <a:pt x="128" y="85"/>
                    <a:pt x="128" y="85"/>
                    <a:pt x="128" y="85"/>
                  </a:cubicBezTo>
                  <a:cubicBezTo>
                    <a:pt x="129" y="85"/>
                    <a:pt x="130" y="86"/>
                    <a:pt x="130" y="88"/>
                  </a:cubicBezTo>
                  <a:cubicBezTo>
                    <a:pt x="130" y="89"/>
                    <a:pt x="129" y="90"/>
                    <a:pt x="128" y="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9" name="Freeform 566">
              <a:extLst>
                <a:ext uri="{FF2B5EF4-FFF2-40B4-BE49-F238E27FC236}">
                  <a16:creationId xmlns:a16="http://schemas.microsoft.com/office/drawing/2014/main" id="{02F21A7B-7F9C-C507-7A1C-3C5D1CADC0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5333" y="2974977"/>
              <a:ext cx="55562" cy="50800"/>
            </a:xfrm>
            <a:custGeom>
              <a:avLst/>
              <a:gdLst>
                <a:gd name="T0" fmla="*/ 13 w 25"/>
                <a:gd name="T1" fmla="*/ 23 h 23"/>
                <a:gd name="T2" fmla="*/ 2 w 25"/>
                <a:gd name="T3" fmla="*/ 23 h 23"/>
                <a:gd name="T4" fmla="*/ 0 w 25"/>
                <a:gd name="T5" fmla="*/ 21 h 23"/>
                <a:gd name="T6" fmla="*/ 0 w 25"/>
                <a:gd name="T7" fmla="*/ 2 h 23"/>
                <a:gd name="T8" fmla="*/ 2 w 25"/>
                <a:gd name="T9" fmla="*/ 0 h 23"/>
                <a:gd name="T10" fmla="*/ 13 w 25"/>
                <a:gd name="T11" fmla="*/ 0 h 23"/>
                <a:gd name="T12" fmla="*/ 25 w 25"/>
                <a:gd name="T13" fmla="*/ 12 h 23"/>
                <a:gd name="T14" fmla="*/ 13 w 25"/>
                <a:gd name="T15" fmla="*/ 23 h 23"/>
                <a:gd name="T16" fmla="*/ 5 w 25"/>
                <a:gd name="T17" fmla="*/ 19 h 23"/>
                <a:gd name="T18" fmla="*/ 13 w 25"/>
                <a:gd name="T19" fmla="*/ 19 h 23"/>
                <a:gd name="T20" fmla="*/ 20 w 25"/>
                <a:gd name="T21" fmla="*/ 12 h 23"/>
                <a:gd name="T22" fmla="*/ 13 w 25"/>
                <a:gd name="T23" fmla="*/ 5 h 23"/>
                <a:gd name="T24" fmla="*/ 5 w 25"/>
                <a:gd name="T25" fmla="*/ 5 h 23"/>
                <a:gd name="T26" fmla="*/ 5 w 25"/>
                <a:gd name="T27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3">
                  <a:moveTo>
                    <a:pt x="13" y="23"/>
                  </a:moveTo>
                  <a:cubicBezTo>
                    <a:pt x="2" y="23"/>
                    <a:pt x="2" y="23"/>
                    <a:pt x="2" y="23"/>
                  </a:cubicBezTo>
                  <a:cubicBezTo>
                    <a:pt x="1" y="23"/>
                    <a:pt x="0" y="22"/>
                    <a:pt x="0" y="2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3"/>
                    <a:pt x="13" y="23"/>
                  </a:cubicBezTo>
                  <a:close/>
                  <a:moveTo>
                    <a:pt x="5" y="19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7" y="19"/>
                    <a:pt x="20" y="15"/>
                    <a:pt x="20" y="12"/>
                  </a:cubicBezTo>
                  <a:cubicBezTo>
                    <a:pt x="20" y="8"/>
                    <a:pt x="17" y="5"/>
                    <a:pt x="13" y="5"/>
                  </a:cubicBezTo>
                  <a:cubicBezTo>
                    <a:pt x="5" y="5"/>
                    <a:pt x="5" y="5"/>
                    <a:pt x="5" y="5"/>
                  </a:cubicBezTo>
                  <a:lnTo>
                    <a:pt x="5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0" name="Freeform 567">
              <a:extLst>
                <a:ext uri="{FF2B5EF4-FFF2-40B4-BE49-F238E27FC236}">
                  <a16:creationId xmlns:a16="http://schemas.microsoft.com/office/drawing/2014/main" id="{25A50EB6-6D99-E282-67BE-FFE96DC28A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5333" y="3017840"/>
              <a:ext cx="55562" cy="52388"/>
            </a:xfrm>
            <a:custGeom>
              <a:avLst/>
              <a:gdLst>
                <a:gd name="T0" fmla="*/ 13 w 25"/>
                <a:gd name="T1" fmla="*/ 23 h 23"/>
                <a:gd name="T2" fmla="*/ 2 w 25"/>
                <a:gd name="T3" fmla="*/ 23 h 23"/>
                <a:gd name="T4" fmla="*/ 0 w 25"/>
                <a:gd name="T5" fmla="*/ 21 h 23"/>
                <a:gd name="T6" fmla="*/ 0 w 25"/>
                <a:gd name="T7" fmla="*/ 2 h 23"/>
                <a:gd name="T8" fmla="*/ 2 w 25"/>
                <a:gd name="T9" fmla="*/ 0 h 23"/>
                <a:gd name="T10" fmla="*/ 13 w 25"/>
                <a:gd name="T11" fmla="*/ 0 h 23"/>
                <a:gd name="T12" fmla="*/ 25 w 25"/>
                <a:gd name="T13" fmla="*/ 11 h 23"/>
                <a:gd name="T14" fmla="*/ 13 w 25"/>
                <a:gd name="T15" fmla="*/ 23 h 23"/>
                <a:gd name="T16" fmla="*/ 5 w 25"/>
                <a:gd name="T17" fmla="*/ 18 h 23"/>
                <a:gd name="T18" fmla="*/ 13 w 25"/>
                <a:gd name="T19" fmla="*/ 18 h 23"/>
                <a:gd name="T20" fmla="*/ 20 w 25"/>
                <a:gd name="T21" fmla="*/ 11 h 23"/>
                <a:gd name="T22" fmla="*/ 13 w 25"/>
                <a:gd name="T23" fmla="*/ 4 h 23"/>
                <a:gd name="T24" fmla="*/ 5 w 25"/>
                <a:gd name="T25" fmla="*/ 4 h 23"/>
                <a:gd name="T26" fmla="*/ 5 w 25"/>
                <a:gd name="T27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3">
                  <a:moveTo>
                    <a:pt x="13" y="23"/>
                  </a:moveTo>
                  <a:cubicBezTo>
                    <a:pt x="2" y="23"/>
                    <a:pt x="2" y="23"/>
                    <a:pt x="2" y="23"/>
                  </a:cubicBezTo>
                  <a:cubicBezTo>
                    <a:pt x="1" y="23"/>
                    <a:pt x="0" y="22"/>
                    <a:pt x="0" y="2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0" y="0"/>
                    <a:pt x="25" y="5"/>
                    <a:pt x="25" y="11"/>
                  </a:cubicBezTo>
                  <a:cubicBezTo>
                    <a:pt x="25" y="18"/>
                    <a:pt x="20" y="23"/>
                    <a:pt x="13" y="23"/>
                  </a:cubicBezTo>
                  <a:close/>
                  <a:moveTo>
                    <a:pt x="5" y="18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7" y="18"/>
                    <a:pt x="20" y="15"/>
                    <a:pt x="20" y="11"/>
                  </a:cubicBezTo>
                  <a:cubicBezTo>
                    <a:pt x="20" y="8"/>
                    <a:pt x="17" y="4"/>
                    <a:pt x="13" y="4"/>
                  </a:cubicBezTo>
                  <a:cubicBezTo>
                    <a:pt x="5" y="4"/>
                    <a:pt x="5" y="4"/>
                    <a:pt x="5" y="4"/>
                  </a:cubicBezTo>
                  <a:lnTo>
                    <a:pt x="5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1" name="Freeform 568">
              <a:extLst>
                <a:ext uri="{FF2B5EF4-FFF2-40B4-BE49-F238E27FC236}">
                  <a16:creationId xmlns:a16="http://schemas.microsoft.com/office/drawing/2014/main" id="{7FDCFB44-C6C1-601D-9365-2CFA97245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3120" y="2974977"/>
              <a:ext cx="61912" cy="95250"/>
            </a:xfrm>
            <a:custGeom>
              <a:avLst/>
              <a:gdLst>
                <a:gd name="T0" fmla="*/ 14 w 27"/>
                <a:gd name="T1" fmla="*/ 42 h 42"/>
                <a:gd name="T2" fmla="*/ 0 w 27"/>
                <a:gd name="T3" fmla="*/ 29 h 42"/>
                <a:gd name="T4" fmla="*/ 0 w 27"/>
                <a:gd name="T5" fmla="*/ 2 h 42"/>
                <a:gd name="T6" fmla="*/ 3 w 27"/>
                <a:gd name="T7" fmla="*/ 0 h 42"/>
                <a:gd name="T8" fmla="*/ 5 w 27"/>
                <a:gd name="T9" fmla="*/ 2 h 42"/>
                <a:gd name="T10" fmla="*/ 5 w 27"/>
                <a:gd name="T11" fmla="*/ 29 h 42"/>
                <a:gd name="T12" fmla="*/ 14 w 27"/>
                <a:gd name="T13" fmla="*/ 37 h 42"/>
                <a:gd name="T14" fmla="*/ 22 w 27"/>
                <a:gd name="T15" fmla="*/ 29 h 42"/>
                <a:gd name="T16" fmla="*/ 22 w 27"/>
                <a:gd name="T17" fmla="*/ 2 h 42"/>
                <a:gd name="T18" fmla="*/ 25 w 27"/>
                <a:gd name="T19" fmla="*/ 0 h 42"/>
                <a:gd name="T20" fmla="*/ 27 w 27"/>
                <a:gd name="T21" fmla="*/ 2 h 42"/>
                <a:gd name="T22" fmla="*/ 27 w 27"/>
                <a:gd name="T23" fmla="*/ 29 h 42"/>
                <a:gd name="T24" fmla="*/ 14 w 27"/>
                <a:gd name="T2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42">
                  <a:moveTo>
                    <a:pt x="14" y="42"/>
                  </a:moveTo>
                  <a:cubicBezTo>
                    <a:pt x="6" y="42"/>
                    <a:pt x="0" y="36"/>
                    <a:pt x="0" y="2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34"/>
                    <a:pt x="9" y="37"/>
                    <a:pt x="14" y="37"/>
                  </a:cubicBezTo>
                  <a:cubicBezTo>
                    <a:pt x="18" y="37"/>
                    <a:pt x="22" y="34"/>
                    <a:pt x="22" y="29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1"/>
                    <a:pt x="23" y="0"/>
                    <a:pt x="25" y="0"/>
                  </a:cubicBezTo>
                  <a:cubicBezTo>
                    <a:pt x="26" y="0"/>
                    <a:pt x="27" y="1"/>
                    <a:pt x="27" y="2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36"/>
                    <a:pt x="21" y="42"/>
                    <a:pt x="14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2" name="Freeform 569">
              <a:extLst>
                <a:ext uri="{FF2B5EF4-FFF2-40B4-BE49-F238E27FC236}">
                  <a16:creationId xmlns:a16="http://schemas.microsoft.com/office/drawing/2014/main" id="{E7241F1B-EE72-3A81-5BE4-8613C802F4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05" y="2971805"/>
              <a:ext cx="69849" cy="63500"/>
            </a:xfrm>
            <a:custGeom>
              <a:avLst/>
              <a:gdLst>
                <a:gd name="T0" fmla="*/ 15 w 31"/>
                <a:gd name="T1" fmla="*/ 28 h 28"/>
                <a:gd name="T2" fmla="*/ 13 w 31"/>
                <a:gd name="T3" fmla="*/ 27 h 28"/>
                <a:gd name="T4" fmla="*/ 1 w 31"/>
                <a:gd name="T5" fmla="*/ 4 h 28"/>
                <a:gd name="T6" fmla="*/ 2 w 31"/>
                <a:gd name="T7" fmla="*/ 1 h 28"/>
                <a:gd name="T8" fmla="*/ 5 w 31"/>
                <a:gd name="T9" fmla="*/ 2 h 28"/>
                <a:gd name="T10" fmla="*/ 15 w 31"/>
                <a:gd name="T11" fmla="*/ 21 h 28"/>
                <a:gd name="T12" fmla="*/ 26 w 31"/>
                <a:gd name="T13" fmla="*/ 2 h 28"/>
                <a:gd name="T14" fmla="*/ 29 w 31"/>
                <a:gd name="T15" fmla="*/ 1 h 28"/>
                <a:gd name="T16" fmla="*/ 30 w 31"/>
                <a:gd name="T17" fmla="*/ 4 h 28"/>
                <a:gd name="T18" fmla="*/ 18 w 31"/>
                <a:gd name="T19" fmla="*/ 27 h 28"/>
                <a:gd name="T20" fmla="*/ 15 w 31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28">
                  <a:moveTo>
                    <a:pt x="15" y="28"/>
                  </a:moveTo>
                  <a:cubicBezTo>
                    <a:pt x="15" y="28"/>
                    <a:pt x="14" y="28"/>
                    <a:pt x="13" y="27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3" y="0"/>
                    <a:pt x="5" y="1"/>
                    <a:pt x="5" y="2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1"/>
                    <a:pt x="28" y="0"/>
                    <a:pt x="29" y="1"/>
                  </a:cubicBezTo>
                  <a:cubicBezTo>
                    <a:pt x="30" y="2"/>
                    <a:pt x="31" y="3"/>
                    <a:pt x="30" y="4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7" y="28"/>
                    <a:pt x="16" y="28"/>
                    <a:pt x="15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3" name="Freeform 570">
              <a:extLst>
                <a:ext uri="{FF2B5EF4-FFF2-40B4-BE49-F238E27FC236}">
                  <a16:creationId xmlns:a16="http://schemas.microsoft.com/office/drawing/2014/main" id="{B9EDBF54-9A4E-6512-36A2-375992DDE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9479" y="3024189"/>
              <a:ext cx="11113" cy="46038"/>
            </a:xfrm>
            <a:custGeom>
              <a:avLst/>
              <a:gdLst>
                <a:gd name="T0" fmla="*/ 2 w 5"/>
                <a:gd name="T1" fmla="*/ 20 h 20"/>
                <a:gd name="T2" fmla="*/ 0 w 5"/>
                <a:gd name="T3" fmla="*/ 18 h 20"/>
                <a:gd name="T4" fmla="*/ 0 w 5"/>
                <a:gd name="T5" fmla="*/ 3 h 20"/>
                <a:gd name="T6" fmla="*/ 2 w 5"/>
                <a:gd name="T7" fmla="*/ 0 h 20"/>
                <a:gd name="T8" fmla="*/ 5 w 5"/>
                <a:gd name="T9" fmla="*/ 3 h 20"/>
                <a:gd name="T10" fmla="*/ 5 w 5"/>
                <a:gd name="T11" fmla="*/ 18 h 20"/>
                <a:gd name="T12" fmla="*/ 2 w 5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0">
                  <a:moveTo>
                    <a:pt x="2" y="20"/>
                  </a:moveTo>
                  <a:cubicBezTo>
                    <a:pt x="1" y="20"/>
                    <a:pt x="0" y="19"/>
                    <a:pt x="0" y="1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4" name="Freeform 571">
              <a:extLst>
                <a:ext uri="{FF2B5EF4-FFF2-40B4-BE49-F238E27FC236}">
                  <a16:creationId xmlns:a16="http://schemas.microsoft.com/office/drawing/2014/main" id="{4954238C-F526-B2AB-FD3F-EA0D063750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2339" y="3057521"/>
              <a:ext cx="101598" cy="173038"/>
            </a:xfrm>
            <a:custGeom>
              <a:avLst/>
              <a:gdLst>
                <a:gd name="T0" fmla="*/ 22 w 45"/>
                <a:gd name="T1" fmla="*/ 76 h 76"/>
                <a:gd name="T2" fmla="*/ 21 w 45"/>
                <a:gd name="T3" fmla="*/ 76 h 76"/>
                <a:gd name="T4" fmla="*/ 20 w 45"/>
                <a:gd name="T5" fmla="*/ 74 h 76"/>
                <a:gd name="T6" fmla="*/ 15 w 45"/>
                <a:gd name="T7" fmla="*/ 60 h 76"/>
                <a:gd name="T8" fmla="*/ 4 w 45"/>
                <a:gd name="T9" fmla="*/ 66 h 76"/>
                <a:gd name="T10" fmla="*/ 2 w 45"/>
                <a:gd name="T11" fmla="*/ 65 h 76"/>
                <a:gd name="T12" fmla="*/ 0 w 45"/>
                <a:gd name="T13" fmla="*/ 63 h 76"/>
                <a:gd name="T14" fmla="*/ 0 w 45"/>
                <a:gd name="T15" fmla="*/ 3 h 76"/>
                <a:gd name="T16" fmla="*/ 2 w 45"/>
                <a:gd name="T17" fmla="*/ 1 h 76"/>
                <a:gd name="T18" fmla="*/ 5 w 45"/>
                <a:gd name="T19" fmla="*/ 1 h 76"/>
                <a:gd name="T20" fmla="*/ 44 w 45"/>
                <a:gd name="T21" fmla="*/ 49 h 76"/>
                <a:gd name="T22" fmla="*/ 45 w 45"/>
                <a:gd name="T23" fmla="*/ 51 h 76"/>
                <a:gd name="T24" fmla="*/ 43 w 45"/>
                <a:gd name="T25" fmla="*/ 53 h 76"/>
                <a:gd name="T26" fmla="*/ 30 w 45"/>
                <a:gd name="T27" fmla="*/ 55 h 76"/>
                <a:gd name="T28" fmla="*/ 35 w 45"/>
                <a:gd name="T29" fmla="*/ 68 h 76"/>
                <a:gd name="T30" fmla="*/ 33 w 45"/>
                <a:gd name="T31" fmla="*/ 72 h 76"/>
                <a:gd name="T32" fmla="*/ 23 w 45"/>
                <a:gd name="T33" fmla="*/ 76 h 76"/>
                <a:gd name="T34" fmla="*/ 22 w 45"/>
                <a:gd name="T35" fmla="*/ 76 h 76"/>
                <a:gd name="T36" fmla="*/ 16 w 45"/>
                <a:gd name="T37" fmla="*/ 54 h 76"/>
                <a:gd name="T38" fmla="*/ 17 w 45"/>
                <a:gd name="T39" fmla="*/ 54 h 76"/>
                <a:gd name="T40" fmla="*/ 18 w 45"/>
                <a:gd name="T41" fmla="*/ 56 h 76"/>
                <a:gd name="T42" fmla="*/ 24 w 45"/>
                <a:gd name="T43" fmla="*/ 70 h 76"/>
                <a:gd name="T44" fmla="*/ 29 w 45"/>
                <a:gd name="T45" fmla="*/ 68 h 76"/>
                <a:gd name="T46" fmla="*/ 24 w 45"/>
                <a:gd name="T47" fmla="*/ 54 h 76"/>
                <a:gd name="T48" fmla="*/ 24 w 45"/>
                <a:gd name="T49" fmla="*/ 52 h 76"/>
                <a:gd name="T50" fmla="*/ 26 w 45"/>
                <a:gd name="T51" fmla="*/ 51 h 76"/>
                <a:gd name="T52" fmla="*/ 38 w 45"/>
                <a:gd name="T53" fmla="*/ 49 h 76"/>
                <a:gd name="T54" fmla="*/ 5 w 45"/>
                <a:gd name="T55" fmla="*/ 10 h 76"/>
                <a:gd name="T56" fmla="*/ 5 w 45"/>
                <a:gd name="T57" fmla="*/ 59 h 76"/>
                <a:gd name="T58" fmla="*/ 15 w 45"/>
                <a:gd name="T59" fmla="*/ 54 h 76"/>
                <a:gd name="T60" fmla="*/ 16 w 45"/>
                <a:gd name="T61" fmla="*/ 5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5" h="76">
                  <a:moveTo>
                    <a:pt x="22" y="76"/>
                  </a:moveTo>
                  <a:cubicBezTo>
                    <a:pt x="22" y="76"/>
                    <a:pt x="21" y="76"/>
                    <a:pt x="21" y="76"/>
                  </a:cubicBezTo>
                  <a:cubicBezTo>
                    <a:pt x="21" y="75"/>
                    <a:pt x="20" y="75"/>
                    <a:pt x="20" y="74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3" y="66"/>
                    <a:pt x="2" y="66"/>
                    <a:pt x="2" y="65"/>
                  </a:cubicBezTo>
                  <a:cubicBezTo>
                    <a:pt x="1" y="65"/>
                    <a:pt x="0" y="64"/>
                    <a:pt x="0" y="6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3" y="0"/>
                    <a:pt x="4" y="1"/>
                    <a:pt x="5" y="1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5" y="49"/>
                    <a:pt x="45" y="50"/>
                    <a:pt x="45" y="51"/>
                  </a:cubicBezTo>
                  <a:cubicBezTo>
                    <a:pt x="44" y="52"/>
                    <a:pt x="44" y="52"/>
                    <a:pt x="43" y="53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5" y="70"/>
                    <a:pt x="35" y="71"/>
                    <a:pt x="33" y="72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2" y="76"/>
                    <a:pt x="22" y="76"/>
                  </a:cubicBezTo>
                  <a:close/>
                  <a:moveTo>
                    <a:pt x="16" y="54"/>
                  </a:moveTo>
                  <a:cubicBezTo>
                    <a:pt x="16" y="54"/>
                    <a:pt x="17" y="54"/>
                    <a:pt x="17" y="54"/>
                  </a:cubicBezTo>
                  <a:cubicBezTo>
                    <a:pt x="18" y="55"/>
                    <a:pt x="18" y="55"/>
                    <a:pt x="18" y="56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3"/>
                    <a:pt x="24" y="53"/>
                    <a:pt x="24" y="52"/>
                  </a:cubicBezTo>
                  <a:cubicBezTo>
                    <a:pt x="25" y="51"/>
                    <a:pt x="25" y="51"/>
                    <a:pt x="26" y="51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59"/>
                    <a:pt x="5" y="59"/>
                    <a:pt x="5" y="59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5" y="54"/>
                    <a:pt x="16" y="54"/>
                    <a:pt x="16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5" name="Freeform 572">
              <a:extLst>
                <a:ext uri="{FF2B5EF4-FFF2-40B4-BE49-F238E27FC236}">
                  <a16:creationId xmlns:a16="http://schemas.microsoft.com/office/drawing/2014/main" id="{539652CC-C639-2C82-0728-253CFCBF4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2362" y="3092450"/>
              <a:ext cx="11113" cy="31750"/>
            </a:xfrm>
            <a:custGeom>
              <a:avLst/>
              <a:gdLst>
                <a:gd name="T0" fmla="*/ 3 w 5"/>
                <a:gd name="T1" fmla="*/ 14 h 14"/>
                <a:gd name="T2" fmla="*/ 0 w 5"/>
                <a:gd name="T3" fmla="*/ 12 h 14"/>
                <a:gd name="T4" fmla="*/ 0 w 5"/>
                <a:gd name="T5" fmla="*/ 3 h 14"/>
                <a:gd name="T6" fmla="*/ 3 w 5"/>
                <a:gd name="T7" fmla="*/ 0 h 14"/>
                <a:gd name="T8" fmla="*/ 5 w 5"/>
                <a:gd name="T9" fmla="*/ 3 h 14"/>
                <a:gd name="T10" fmla="*/ 5 w 5"/>
                <a:gd name="T11" fmla="*/ 12 h 14"/>
                <a:gd name="T12" fmla="*/ 3 w 5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4">
                  <a:moveTo>
                    <a:pt x="3" y="14"/>
                  </a:moveTo>
                  <a:cubicBezTo>
                    <a:pt x="1" y="14"/>
                    <a:pt x="0" y="13"/>
                    <a:pt x="0" y="1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3"/>
                    <a:pt x="4" y="14"/>
                    <a:pt x="3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2281676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9</TotalTime>
  <Words>2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Icon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92</cp:revision>
  <dcterms:created xsi:type="dcterms:W3CDTF">2021-03-31T02:49:57Z</dcterms:created>
  <dcterms:modified xsi:type="dcterms:W3CDTF">2025-10-16T11:44:33Z</dcterms:modified>
  <cp:category/>
</cp:coreProperties>
</file>